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0"/>
  </p:notesMasterIdLst>
  <p:sldIdLst>
    <p:sldId id="300" r:id="rId2"/>
    <p:sldId id="503" r:id="rId3"/>
    <p:sldId id="302" r:id="rId4"/>
    <p:sldId id="646" r:id="rId5"/>
    <p:sldId id="649" r:id="rId6"/>
    <p:sldId id="647" r:id="rId7"/>
    <p:sldId id="648" r:id="rId8"/>
    <p:sldId id="650" r:id="rId9"/>
    <p:sldId id="590" r:id="rId10"/>
    <p:sldId id="661" r:id="rId11"/>
    <p:sldId id="652" r:id="rId12"/>
    <p:sldId id="663" r:id="rId13"/>
    <p:sldId id="653" r:id="rId14"/>
    <p:sldId id="664" r:id="rId15"/>
    <p:sldId id="654" r:id="rId16"/>
    <p:sldId id="665" r:id="rId17"/>
    <p:sldId id="655" r:id="rId18"/>
    <p:sldId id="667" r:id="rId19"/>
    <p:sldId id="656" r:id="rId20"/>
    <p:sldId id="668" r:id="rId21"/>
    <p:sldId id="666" r:id="rId22"/>
    <p:sldId id="657" r:id="rId23"/>
    <p:sldId id="584" r:id="rId24"/>
    <p:sldId id="651" r:id="rId25"/>
    <p:sldId id="662" r:id="rId26"/>
    <p:sldId id="674" r:id="rId27"/>
    <p:sldId id="669" r:id="rId28"/>
    <p:sldId id="675" r:id="rId29"/>
    <p:sldId id="670" r:id="rId30"/>
    <p:sldId id="671" r:id="rId31"/>
    <p:sldId id="672" r:id="rId32"/>
    <p:sldId id="673" r:id="rId33"/>
    <p:sldId id="505" r:id="rId34"/>
    <p:sldId id="510" r:id="rId35"/>
    <p:sldId id="511" r:id="rId36"/>
    <p:sldId id="519" r:id="rId37"/>
    <p:sldId id="645" r:id="rId38"/>
    <p:sldId id="479" r:id="rId3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B314456-4B4C-4B36-9219-980102937F6D}">
          <p14:sldIdLst>
            <p14:sldId id="300"/>
            <p14:sldId id="503"/>
            <p14:sldId id="302"/>
            <p14:sldId id="646"/>
            <p14:sldId id="649"/>
            <p14:sldId id="647"/>
            <p14:sldId id="648"/>
            <p14:sldId id="650"/>
            <p14:sldId id="590"/>
            <p14:sldId id="661"/>
            <p14:sldId id="652"/>
            <p14:sldId id="663"/>
            <p14:sldId id="653"/>
            <p14:sldId id="664"/>
            <p14:sldId id="654"/>
            <p14:sldId id="665"/>
            <p14:sldId id="655"/>
            <p14:sldId id="667"/>
            <p14:sldId id="656"/>
            <p14:sldId id="668"/>
            <p14:sldId id="666"/>
            <p14:sldId id="657"/>
            <p14:sldId id="584"/>
            <p14:sldId id="651"/>
            <p14:sldId id="662"/>
            <p14:sldId id="674"/>
            <p14:sldId id="669"/>
            <p14:sldId id="675"/>
            <p14:sldId id="670"/>
            <p14:sldId id="671"/>
            <p14:sldId id="672"/>
            <p14:sldId id="673"/>
            <p14:sldId id="505"/>
            <p14:sldId id="510"/>
            <p14:sldId id="511"/>
            <p14:sldId id="519"/>
            <p14:sldId id="645"/>
            <p14:sldId id="479"/>
          </p14:sldIdLst>
        </p14:section>
        <p14:section name="доп слайды" id="{0A5E0976-12A8-4C90-BC88-E7445F4ED5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егдальский Денис Игоревич" initials="МДИ" lastIdx="6" clrIdx="0">
    <p:extLst>
      <p:ext uri="{19B8F6BF-5375-455C-9EA6-DF929625EA0E}">
        <p15:presenceInfo xmlns:p15="http://schemas.microsoft.com/office/powerpoint/2012/main" userId="S-1-5-21-4226584364-21557989-1436132917-1644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E1F2"/>
    <a:srgbClr val="176BBD"/>
    <a:srgbClr val="49198B"/>
    <a:srgbClr val="2A3393"/>
    <a:srgbClr val="62C7F1"/>
    <a:srgbClr val="E3EAF6"/>
    <a:srgbClr val="2C2D8F"/>
    <a:srgbClr val="668CCF"/>
    <a:srgbClr val="ED7D31"/>
    <a:srgbClr val="7899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6408" autoAdjust="0"/>
  </p:normalViewPr>
  <p:slideViewPr>
    <p:cSldViewPr snapToGrid="0">
      <p:cViewPr varScale="1">
        <p:scale>
          <a:sx n="62" d="100"/>
          <a:sy n="62" d="100"/>
        </p:scale>
        <p:origin x="72" y="21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56728E-7B58-4258-ACF1-6AFD9B644731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C96344-AB4E-4E43-8796-67C97B8F4B3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4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1202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56244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55207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68436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3580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6724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96028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25591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83287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37177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7152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93898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205964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312892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86926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5550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23380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94424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723004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007859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018293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012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409360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883001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054074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708434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5203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74247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057268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093652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8402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57388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4928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99320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87379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8207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618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5761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81177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13561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80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687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357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8540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9575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47135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3723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4792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8014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0B3465-6BC1-4C5A-8672-039A31808E6C}" type="datetimeFigureOut">
              <a:rPr lang="ru-RU" smtClean="0"/>
              <a:t>08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936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3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5" Type="http://schemas.openxmlformats.org/officeDocument/2006/relationships/image" Target="../media/image72.png"/><Relationship Id="rId10" Type="http://schemas.openxmlformats.org/officeDocument/2006/relationships/image" Target="../media/image77.pn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3.pn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3.png"/><Relationship Id="rId7" Type="http://schemas.openxmlformats.org/officeDocument/2006/relationships/image" Target="../media/image9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7.png"/><Relationship Id="rId5" Type="http://schemas.openxmlformats.org/officeDocument/2006/relationships/image" Target="../media/image96.jpg"/><Relationship Id="rId4" Type="http://schemas.openxmlformats.org/officeDocument/2006/relationships/image" Target="../media/image9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jpeg"/><Relationship Id="rId3" Type="http://schemas.openxmlformats.org/officeDocument/2006/relationships/image" Target="../media/image3.png"/><Relationship Id="rId7" Type="http://schemas.openxmlformats.org/officeDocument/2006/relationships/image" Target="../media/image106.jpeg"/><Relationship Id="rId12" Type="http://schemas.openxmlformats.org/officeDocument/2006/relationships/hyperlink" Target="https://shop.prosv.ru/fizika--tetrad-trenazhyor--9-klass10288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5.jpeg"/><Relationship Id="rId11" Type="http://schemas.openxmlformats.org/officeDocument/2006/relationships/hyperlink" Target="https://shop.prosv.ru/ya-sdam-oge--fizika--mexanicheskie-yavleniya--teplovye-yavleniya--elektromagnitnye-yavleniya--tipovye-zadaniya2396" TargetMode="External"/><Relationship Id="rId5" Type="http://schemas.openxmlformats.org/officeDocument/2006/relationships/image" Target="../media/image104.jpeg"/><Relationship Id="rId10" Type="http://schemas.openxmlformats.org/officeDocument/2006/relationships/hyperlink" Target="https://shop.prosv.ru/oge-2019-fizika-25-luchshix-variantov2923" TargetMode="External"/><Relationship Id="rId4" Type="http://schemas.openxmlformats.org/officeDocument/2006/relationships/image" Target="../media/image103.jpeg"/><Relationship Id="rId9" Type="http://schemas.openxmlformats.org/officeDocument/2006/relationships/hyperlink" Target="https://shop.prosv.ru/v-pomoshh-vypuskniku--oge--fizika--spravochnik-s-kommentariyami-vedushhix-ekspertov3235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image" Target="../media/image110.png"/><Relationship Id="rId7" Type="http://schemas.openxmlformats.org/officeDocument/2006/relationships/image" Target="../media/image11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3.png"/><Relationship Id="rId11" Type="http://schemas.openxmlformats.org/officeDocument/2006/relationships/image" Target="../media/image118.png"/><Relationship Id="rId5" Type="http://schemas.openxmlformats.org/officeDocument/2006/relationships/image" Target="../media/image112.png"/><Relationship Id="rId10" Type="http://schemas.openxmlformats.org/officeDocument/2006/relationships/image" Target="../media/image117.png"/><Relationship Id="rId4" Type="http://schemas.openxmlformats.org/officeDocument/2006/relationships/image" Target="../media/image111.png"/><Relationship Id="rId9" Type="http://schemas.openxmlformats.org/officeDocument/2006/relationships/image" Target="../media/image11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2.png"/><Relationship Id="rId4" Type="http://schemas.openxmlformats.org/officeDocument/2006/relationships/hyperlink" Target="https://cifra.school/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5" Type="http://schemas.openxmlformats.org/officeDocument/2006/relationships/hyperlink" Target="mailto:Olitvinov@prosv.ru" TargetMode="External"/><Relationship Id="rId4" Type="http://schemas.openxmlformats.org/officeDocument/2006/relationships/hyperlink" Target="https://www.prosv.ru/webinars" TargetMode="Externa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3" Type="http://schemas.openxmlformats.org/officeDocument/2006/relationships/hyperlink" Target="mailto:prosv@prosv.ru" TargetMode="External"/><Relationship Id="rId7" Type="http://schemas.openxmlformats.org/officeDocument/2006/relationships/image" Target="../media/image132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1.jpeg"/><Relationship Id="rId5" Type="http://schemas.openxmlformats.org/officeDocument/2006/relationships/hyperlink" Target="http://www.spheres.ru/" TargetMode="External"/><Relationship Id="rId4" Type="http://schemas.openxmlformats.org/officeDocument/2006/relationships/hyperlink" Target="http://www.prosv.ru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3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image" Target="../media/image3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3.pn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3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3.png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-24087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2735" y="1739281"/>
            <a:ext cx="10252617" cy="1169551"/>
          </a:xfrm>
        </p:spPr>
        <p:txBody>
          <a:bodyPr wrap="square"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4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Решаем задания ОГЭ вместе! Задачи по механике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972050" y="4543865"/>
            <a:ext cx="7112286" cy="923330"/>
          </a:xfrm>
        </p:spPr>
        <p:txBody>
          <a:bodyPr wrap="square" lIns="0" tIns="0" rIns="0" bIns="0">
            <a:sp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дущий методист по физике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Центра методической поддержки педагогов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твинов Олег Андреевич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0" y="5972139"/>
            <a:ext cx="814492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 права защищены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</a:p>
        </p:txBody>
      </p:sp>
    </p:spTree>
    <p:extLst>
      <p:ext uri="{BB962C8B-B14F-4D97-AF65-F5344CB8AC3E}">
        <p14:creationId xmlns:p14="http://schemas.microsoft.com/office/powerpoint/2010/main" val="20010653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0906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1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FB622D7-BBC7-4D01-8BBC-D6E0AFB6CD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526" y="729107"/>
            <a:ext cx="7251862" cy="29983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6EB6693-8EBF-41C2-93A4-3A135653A251}"/>
              </a:ext>
            </a:extLst>
          </p:cNvPr>
          <p:cNvSpPr txBox="1"/>
          <p:nvPr/>
        </p:nvSpPr>
        <p:spPr>
          <a:xfrm>
            <a:off x="9151957" y="575981"/>
            <a:ext cx="14950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86D6DF-B09F-477D-87F5-6999C814D943}"/>
              </a:ext>
            </a:extLst>
          </p:cNvPr>
          <p:cNvSpPr txBox="1"/>
          <p:nvPr/>
        </p:nvSpPr>
        <p:spPr>
          <a:xfrm>
            <a:off x="7916667" y="1037646"/>
            <a:ext cx="3796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равним между собой плотности шара 1 и шара 3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7F0D35-2AED-4061-A096-F026AC0140C5}"/>
              </a:ext>
            </a:extLst>
          </p:cNvPr>
          <p:cNvSpPr txBox="1"/>
          <p:nvPr/>
        </p:nvSpPr>
        <p:spPr>
          <a:xfrm>
            <a:off x="7916667" y="1828180"/>
            <a:ext cx="3796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ы знаем, что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V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= V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з рисунка видно, что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&lt; m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01F45C-F63F-4303-B86D-3D8C765A6C14}"/>
              </a:ext>
            </a:extLst>
          </p:cNvPr>
          <p:cNvSpPr txBox="1"/>
          <p:nvPr/>
        </p:nvSpPr>
        <p:spPr>
          <a:xfrm>
            <a:off x="7916667" y="2618714"/>
            <a:ext cx="3796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оспользуемся формулой для расчёта плотности тела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F1BE216-09B4-4A62-A6C3-BA043CC4CA4A}"/>
                  </a:ext>
                </a:extLst>
              </p:cNvPr>
              <p:cNvSpPr txBox="1"/>
              <p:nvPr/>
            </p:nvSpPr>
            <p:spPr>
              <a:xfrm>
                <a:off x="9151957" y="3326600"/>
                <a:ext cx="815223" cy="52706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𝜌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F1BE216-09B4-4A62-A6C3-BA043CC4CA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51957" y="3326600"/>
                <a:ext cx="815223" cy="52706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7C5E9D56-41BA-4855-A365-8E4E9D6B16A0}"/>
              </a:ext>
            </a:extLst>
          </p:cNvPr>
          <p:cNvSpPr txBox="1"/>
          <p:nvPr/>
        </p:nvSpPr>
        <p:spPr>
          <a:xfrm>
            <a:off x="464457" y="3881362"/>
            <a:ext cx="1141788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з формулы видим, что если объём тел одинаковый, то плотность будет больше у того тела, у которого больше масса. Следовательно,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ρ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&lt; </a:t>
            </a:r>
            <a:r>
              <a:rPr lang="el-GR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ρ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Теперь сравним между собой плотности шара 1 и шара 2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ы знаем, что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V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&lt; V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а из рисунка видим, что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= m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з формулы для расчёта плотности тела делаем вывод: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Если масса тел одинакова, то плотность будет больше у того тела, у которого объём меньше. </a:t>
            </a:r>
            <a:r>
              <a:rPr lang="ru-RU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ρ</a:t>
            </a:r>
            <a:r>
              <a:rPr lang="ru-RU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&gt; ρ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равним между собой плотности всех шаров и получим</a:t>
            </a:r>
            <a:r>
              <a:rPr lang="ru-RU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l-GR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ρ</a:t>
            </a:r>
            <a:r>
              <a:rPr lang="ru-RU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el-GR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ρ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&gt; </a:t>
            </a:r>
            <a:r>
              <a:rPr lang="el-GR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ρ</a:t>
            </a:r>
            <a:r>
              <a:rPr lang="en-US" sz="2000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  <a:p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авильный ответ: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5217CC3-8BFF-471C-9B32-6690F7ECCFB9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 Демонстрационный вариант контрольных измерительных материалов основного государственного экзамена 2020 года  по ФИЗИКЕ </a:t>
            </a:r>
          </a:p>
        </p:txBody>
      </p:sp>
    </p:spTree>
    <p:extLst>
      <p:ext uri="{BB962C8B-B14F-4D97-AF65-F5344CB8AC3E}">
        <p14:creationId xmlns:p14="http://schemas.microsoft.com/office/powerpoint/2010/main" val="7436420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1964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2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BD94A32-E66D-402D-95EF-F25DDEA4E5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264" y="729107"/>
            <a:ext cx="9223067" cy="69173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43CCA5B-489E-4BA0-B236-FEBBBBAAEC24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ОГЭ-2019. Физика. 25 лучших вариантов </a:t>
            </a:r>
            <a:r>
              <a:rPr lang="ru-RU" sz="1050" dirty="0" err="1"/>
              <a:t>Лужанская</a:t>
            </a:r>
            <a:r>
              <a:rPr lang="ru-RU" sz="1050" dirty="0"/>
              <a:t> К. Р., Щербина А. В., Просвещение, 2019  </a:t>
            </a:r>
          </a:p>
        </p:txBody>
      </p:sp>
    </p:spTree>
    <p:extLst>
      <p:ext uri="{BB962C8B-B14F-4D97-AF65-F5344CB8AC3E}">
        <p14:creationId xmlns:p14="http://schemas.microsoft.com/office/powerpoint/2010/main" val="4622196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1964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2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BD94A32-E66D-402D-95EF-F25DDEA4E5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264" y="729107"/>
            <a:ext cx="9223067" cy="69173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1392DB5-AA94-4B14-902A-19B648D7CC50}"/>
              </a:ext>
            </a:extLst>
          </p:cNvPr>
          <p:cNvSpPr txBox="1"/>
          <p:nvPr/>
        </p:nvSpPr>
        <p:spPr>
          <a:xfrm>
            <a:off x="491349" y="1482392"/>
            <a:ext cx="14950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: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4D0A3CD-57BE-4662-88F1-C501CAAB1A1D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ОГЭ-2019. Физика. 25 лучших вариантов </a:t>
            </a:r>
            <a:r>
              <a:rPr lang="ru-RU" sz="1050" dirty="0" err="1"/>
              <a:t>Лужанская</a:t>
            </a:r>
            <a:r>
              <a:rPr lang="ru-RU" sz="1050" dirty="0"/>
              <a:t> К. Р., Щербина А. В., Просвещение, 2019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41FBB57-E81B-4252-AF88-D94E00F38FFF}"/>
              </a:ext>
            </a:extLst>
          </p:cNvPr>
          <p:cNvSpPr txBox="1"/>
          <p:nvPr/>
        </p:nvSpPr>
        <p:spPr>
          <a:xfrm>
            <a:off x="491349" y="1927050"/>
            <a:ext cx="1076782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спомним от чего зависит выталкивающая сила, действующая на погруженное в жидкость тело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ля этого воспользуемся формулой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F1863AE-DD74-448C-A0A5-FB20F1B02091}"/>
                  </a:ext>
                </a:extLst>
              </p:cNvPr>
              <p:cNvSpPr txBox="1"/>
              <p:nvPr/>
            </p:nvSpPr>
            <p:spPr>
              <a:xfrm>
                <a:off x="5102355" y="2634936"/>
                <a:ext cx="1545808" cy="33528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</a:rPr>
                            <m:t>Арх</m:t>
                          </m:r>
                        </m:sub>
                      </m:sSub>
                      <m:r>
                        <a:rPr lang="ru-RU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ru-RU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</a:rPr>
                            <m:t>ж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𝑔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</a:rPr>
                            <m:t>т</m:t>
                          </m:r>
                        </m:sub>
                      </m:sSub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F1863AE-DD74-448C-A0A5-FB20F1B020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02355" y="2634936"/>
                <a:ext cx="1545808" cy="335285"/>
              </a:xfrm>
              <a:prstGeom prst="rect">
                <a:avLst/>
              </a:prstGeom>
              <a:blipFill>
                <a:blip r:embed="rId5"/>
                <a:stretch>
                  <a:fillRect l="-3150" b="-2909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3D4B71F3-CF14-4106-9414-E3F394801B82}"/>
              </a:ext>
            </a:extLst>
          </p:cNvPr>
          <p:cNvSpPr txBox="1"/>
          <p:nvPr/>
        </p:nvSpPr>
        <p:spPr>
          <a:xfrm>
            <a:off x="491349" y="3079594"/>
            <a:ext cx="652826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к видим из формулы, выталкивающая сила зависит от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лотности жидкости, в которую погружено тело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т объёма тела (части тела), погруженного в жидкость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09E500-C8D5-4761-A2E3-5E3D52BF2442}"/>
              </a:ext>
            </a:extLst>
          </p:cNvPr>
          <p:cNvSpPr txBox="1"/>
          <p:nvPr/>
        </p:nvSpPr>
        <p:spPr>
          <a:xfrm>
            <a:off x="386937" y="4112239"/>
            <a:ext cx="106107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нашем случае сказано, что объём тел одинаковый и оба тела погружены в воду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елаем вывод, что если два тела имеют одинаковый объём и плотность жидкости одинакова, то на них действует </a:t>
            </a:r>
            <a:r>
              <a:rPr lang="ru-RU" sz="20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динаковая выталкивающая сила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1F0A81-6508-42E9-9B77-386046947FAE}"/>
              </a:ext>
            </a:extLst>
          </p:cNvPr>
          <p:cNvSpPr txBox="1"/>
          <p:nvPr/>
        </p:nvSpPr>
        <p:spPr>
          <a:xfrm>
            <a:off x="386937" y="5144884"/>
            <a:ext cx="34515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БУДЬТЕ ВНИМАТЕЛЬНЫ!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93EDB4-880E-4BF7-A604-F88517D023BE}"/>
              </a:ext>
            </a:extLst>
          </p:cNvPr>
          <p:cNvSpPr txBox="1"/>
          <p:nvPr/>
        </p:nvSpPr>
        <p:spPr>
          <a:xfrm>
            <a:off x="400505" y="5496467"/>
            <a:ext cx="1139098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асса тела играет важную роль, если рассматривается вопрос о </a:t>
            </a:r>
            <a:r>
              <a:rPr lang="ru-RU" sz="20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лавании тел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В нашей задаче спрашивается о величине выталкивающей силы, а величина выталкивающей силы </a:t>
            </a:r>
            <a:r>
              <a:rPr lang="ru-RU" sz="20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т массы не зависит.</a:t>
            </a:r>
          </a:p>
        </p:txBody>
      </p:sp>
    </p:spTree>
    <p:extLst>
      <p:ext uri="{BB962C8B-B14F-4D97-AF65-F5344CB8AC3E}">
        <p14:creationId xmlns:p14="http://schemas.microsoft.com/office/powerpoint/2010/main" val="39554969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2076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3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9E90BED-AF1C-4518-B3E5-9BE759F81D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739" y="729106"/>
            <a:ext cx="8689584" cy="1254167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A441BE0-EB1B-4C50-A174-05064341A1CC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ОГЭ-2019. Физика. 25 лучших вариантов </a:t>
            </a:r>
            <a:r>
              <a:rPr lang="ru-RU" sz="1050" dirty="0" err="1"/>
              <a:t>Лужанская</a:t>
            </a:r>
            <a:r>
              <a:rPr lang="ru-RU" sz="1050" dirty="0"/>
              <a:t> К. Р., Щербина А. В., Просвещение, 2019  </a:t>
            </a:r>
          </a:p>
        </p:txBody>
      </p:sp>
    </p:spTree>
    <p:extLst>
      <p:ext uri="{BB962C8B-B14F-4D97-AF65-F5344CB8AC3E}">
        <p14:creationId xmlns:p14="http://schemas.microsoft.com/office/powerpoint/2010/main" val="1191992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2076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3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9E90BED-AF1C-4518-B3E5-9BE759F81D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739" y="729106"/>
            <a:ext cx="8689584" cy="12541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7BF36AB-B58D-4FDC-AF0C-48794D0353D8}"/>
              </a:ext>
            </a:extLst>
          </p:cNvPr>
          <p:cNvSpPr txBox="1"/>
          <p:nvPr/>
        </p:nvSpPr>
        <p:spPr>
          <a:xfrm>
            <a:off x="496960" y="1983273"/>
            <a:ext cx="14950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: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C26845C-BA47-4A8B-9248-CA18E2505EEB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ОГЭ-2019. Физика. 25 лучших вариантов </a:t>
            </a:r>
            <a:r>
              <a:rPr lang="ru-RU" sz="1050" dirty="0" err="1"/>
              <a:t>Лужанская</a:t>
            </a:r>
            <a:r>
              <a:rPr lang="ru-RU" sz="1050" dirty="0"/>
              <a:t> К. Р., Щербина А. В., Просвещение, 2019 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30F3CAE-F224-424C-9959-57E968404AE4}"/>
              </a:ext>
            </a:extLst>
          </p:cNvPr>
          <p:cNvSpPr txBox="1"/>
          <p:nvPr/>
        </p:nvSpPr>
        <p:spPr>
          <a:xfrm>
            <a:off x="496960" y="2444938"/>
            <a:ext cx="9217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ля того, чтобы решить задачу воспользуемся формулами для равноускоренного движения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42542E3-B9A9-43A5-95F9-BACC4B945E68}"/>
                  </a:ext>
                </a:extLst>
              </p:cNvPr>
              <p:cNvSpPr txBox="1"/>
              <p:nvPr/>
            </p:nvSpPr>
            <p:spPr>
              <a:xfrm>
                <a:off x="628917" y="2813447"/>
                <a:ext cx="2033698" cy="6155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sz="2000" b="0" i="0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sSup>
                            <m:sSup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p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42542E3-B9A9-43A5-95F9-BACC4B945E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917" y="2813447"/>
                <a:ext cx="2033698" cy="61555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911F8C5-AC91-4C64-8170-7990D8B8B440}"/>
                  </a:ext>
                </a:extLst>
              </p:cNvPr>
              <p:cNvSpPr txBox="1"/>
              <p:nvPr/>
            </p:nvSpPr>
            <p:spPr>
              <a:xfrm>
                <a:off x="4590228" y="2967334"/>
                <a:ext cx="1792991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𝑡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911F8C5-AC91-4C64-8170-7990D8B8B44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90228" y="2967334"/>
                <a:ext cx="1792991" cy="307777"/>
              </a:xfrm>
              <a:prstGeom prst="rect">
                <a:avLst/>
              </a:prstGeom>
              <a:blipFill>
                <a:blip r:embed="rId6"/>
                <a:stretch>
                  <a:fillRect l="-1701" r="-2381" b="-16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CE73EBB8-147A-4E67-9E65-98B7A49B63DE}"/>
              </a:ext>
            </a:extLst>
          </p:cNvPr>
          <p:cNvSpPr txBox="1"/>
          <p:nvPr/>
        </p:nvSpPr>
        <p:spPr>
          <a:xfrm>
            <a:off x="496960" y="3406956"/>
            <a:ext cx="81865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оведём математические преобразования. Из формулы (2) выразим ускорение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12C860-8369-4D00-9C9B-7815E342A13C}"/>
              </a:ext>
            </a:extLst>
          </p:cNvPr>
          <p:cNvSpPr txBox="1"/>
          <p:nvPr/>
        </p:nvSpPr>
        <p:spPr>
          <a:xfrm>
            <a:off x="2662615" y="2937381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1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EA80E1-7F09-4EFA-8988-323D95BD6CE1}"/>
              </a:ext>
            </a:extLst>
          </p:cNvPr>
          <p:cNvSpPr txBox="1"/>
          <p:nvPr/>
        </p:nvSpPr>
        <p:spPr>
          <a:xfrm>
            <a:off x="6476070" y="2905779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2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FB25E15A-F13A-433C-9BDC-4EF4083D0763}"/>
                  </a:ext>
                </a:extLst>
              </p:cNvPr>
              <p:cNvSpPr txBox="1"/>
              <p:nvPr/>
            </p:nvSpPr>
            <p:spPr>
              <a:xfrm>
                <a:off x="8581990" y="3320048"/>
                <a:ext cx="1570238" cy="47250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− 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FB25E15A-F13A-433C-9BDC-4EF4083D07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81990" y="3320048"/>
                <a:ext cx="1570238" cy="47250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Box 13">
            <a:extLst>
              <a:ext uri="{FF2B5EF4-FFF2-40B4-BE49-F238E27FC236}">
                <a16:creationId xmlns:a16="http://schemas.microsoft.com/office/drawing/2014/main" id="{44CC025B-7F66-45F4-B1DF-579E2FD94A22}"/>
              </a:ext>
            </a:extLst>
          </p:cNvPr>
          <p:cNvSpPr txBox="1"/>
          <p:nvPr/>
        </p:nvSpPr>
        <p:spPr>
          <a:xfrm>
            <a:off x="496960" y="3809628"/>
            <a:ext cx="52509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дставим в уравнение (1) и упростим выражение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A0AD6A70-A87E-46A0-9E65-46D87D765E47}"/>
                  </a:ext>
                </a:extLst>
              </p:cNvPr>
              <p:cNvSpPr txBox="1"/>
              <p:nvPr/>
            </p:nvSpPr>
            <p:spPr>
              <a:xfrm>
                <a:off x="605471" y="4174311"/>
                <a:ext cx="7359579" cy="54944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sz="2000" b="0" i="0" smtClean="0">
                        <a:latin typeface="Cambria Math" panose="02040503050406030204" pitchFamily="18" charset="0"/>
                      </a:rPr>
                      <m:t>= </m:t>
                    </m:r>
                    <m:sSub>
                      <m:sSubPr>
                        <m:ctrlPr>
                          <a:rPr lang="en-US" sz="2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𝜐</m:t>
                        </m:r>
                      </m:e>
                      <m:sub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0</m:t>
                        </m:r>
                        <m:r>
                          <a:rPr lang="en-US" sz="20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  <m:r>
                      <a:rPr 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f>
                              <m:fPr>
                                <m:ctrlPr>
                                  <a:rPr lang="en-US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en-US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𝜐</m:t>
                                    </m:r>
                                  </m:e>
                                  <m:sub>
                                    <m:r>
                                      <a:rPr lang="en-US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  <m:r>
                                  <a:rPr lang="en-US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𝜐</m:t>
                                    </m:r>
                                  </m:e>
                                  <m:sub>
                                    <m:r>
                                      <a:rPr lang="en-US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0</m:t>
                                    </m:r>
                                    <m:r>
                                      <a:rPr lang="en-US" sz="20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</m:num>
                              <m:den>
                                <m:r>
                                  <a:rPr lang="en-US" sz="20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𝑡</m:t>
                                </m:r>
                              </m:den>
                            </m:f>
                            <m:r>
                              <a:rPr lang="en-US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𝑡</m:t>
                            </m:r>
                          </m:e>
                          <m:sup>
                            <m:r>
                              <a:rPr lang="en-US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r>
                  <a:rPr lang="en-US" sz="2000" dirty="0"/>
                  <a:t>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𝜐</m:t>
                        </m:r>
                      </m:e>
                      <m:sub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0</m:t>
                        </m:r>
                        <m:r>
                          <a:rPr lang="en-US" sz="2000" i="1">
                            <a:latin typeface="Cambria Math" panose="02040503050406030204" pitchFamily="18" charset="0"/>
                          </a:rPr>
                          <m:t>𝑥</m:t>
                        </m:r>
                      </m:sub>
                    </m:sSub>
                    <m:r>
                      <a:rPr lang="en-US" sz="20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</m:t>
                    </m:r>
                    <m:r>
                      <a:rPr 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 </m:t>
                    </m:r>
                    <m:f>
                      <m:f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𝜐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en-US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𝜐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0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num>
                      <m:den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  <m:sSub>
                          <m:sSubPr>
                            <m:ctrlPr>
                              <a:rPr lang="en-US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𝜐</m:t>
                            </m:r>
                          </m:e>
                          <m:sub>
                            <m:r>
                              <a:rPr lang="en-US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0</m:t>
                            </m:r>
                            <m:r>
                              <a:rPr lang="en-US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𝜐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en-US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𝜐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0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num>
                      <m:den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𝜐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𝜐</m:t>
                            </m:r>
                          </m:e>
                          <m:sub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0</m:t>
                            </m:r>
                            <m:r>
                              <a:rPr lang="en-US" sz="20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𝑥</m:t>
                            </m:r>
                          </m:sub>
                        </m:sSub>
                        <m:r>
                          <a:rPr lang="en-US" sz="20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𝑡</m:t>
                        </m:r>
                      </m:num>
                      <m:den>
                        <m:r>
                          <a:rPr lang="en-US" sz="20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en-US" sz="20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000" dirty="0"/>
                  <a:t>  </a:t>
                </a:r>
                <a:endParaRPr lang="ru-RU" sz="20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A0AD6A70-A87E-46A0-9E65-46D87D765E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5471" y="4174311"/>
                <a:ext cx="7359579" cy="549446"/>
              </a:xfrm>
              <a:prstGeom prst="rect">
                <a:avLst/>
              </a:prstGeom>
              <a:blipFill>
                <a:blip r:embed="rId8"/>
                <a:stretch>
                  <a:fillRect b="-1555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14">
            <a:extLst>
              <a:ext uri="{FF2B5EF4-FFF2-40B4-BE49-F238E27FC236}">
                <a16:creationId xmlns:a16="http://schemas.microsoft.com/office/drawing/2014/main" id="{DE17F48E-F9ED-4731-81F3-726FD78FE5D1}"/>
              </a:ext>
            </a:extLst>
          </p:cNvPr>
          <p:cNvSpPr txBox="1"/>
          <p:nvPr/>
        </p:nvSpPr>
        <p:spPr>
          <a:xfrm>
            <a:off x="496960" y="4719108"/>
            <a:ext cx="58910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ыразим из получившейся формулы начальную скорость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CAE58173-EC26-4AA9-ACBD-A79A96009692}"/>
                  </a:ext>
                </a:extLst>
              </p:cNvPr>
              <p:cNvSpPr txBox="1"/>
              <p:nvPr/>
            </p:nvSpPr>
            <p:spPr>
              <a:xfrm>
                <a:off x="544406" y="5149613"/>
                <a:ext cx="1637884" cy="52578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CAE58173-EC26-4AA9-ACBD-A79A960096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4406" y="5149613"/>
                <a:ext cx="1637884" cy="525785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Box 17">
            <a:extLst>
              <a:ext uri="{FF2B5EF4-FFF2-40B4-BE49-F238E27FC236}">
                <a16:creationId xmlns:a16="http://schemas.microsoft.com/office/drawing/2014/main" id="{361C3241-3D61-4C8C-9DDD-858DB91DED76}"/>
              </a:ext>
            </a:extLst>
          </p:cNvPr>
          <p:cNvSpPr txBox="1"/>
          <p:nvPr/>
        </p:nvSpPr>
        <p:spPr>
          <a:xfrm>
            <a:off x="2191078" y="5215625"/>
            <a:ext cx="444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=&gt;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973E57B9-4A43-45CE-8AEE-4935BEA95A2E}"/>
                  </a:ext>
                </a:extLst>
              </p:cNvPr>
              <p:cNvSpPr txBox="1"/>
              <p:nvPr/>
            </p:nvSpPr>
            <p:spPr>
              <a:xfrm>
                <a:off x="2604086" y="5078329"/>
                <a:ext cx="1639743" cy="5203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−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973E57B9-4A43-45CE-8AEE-4935BEA95A2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04086" y="5078329"/>
                <a:ext cx="1639743" cy="520399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TextBox 19">
            <a:extLst>
              <a:ext uri="{FF2B5EF4-FFF2-40B4-BE49-F238E27FC236}">
                <a16:creationId xmlns:a16="http://schemas.microsoft.com/office/drawing/2014/main" id="{A908116E-E500-4C84-B9D6-CEF7CF8F92CC}"/>
              </a:ext>
            </a:extLst>
          </p:cNvPr>
          <p:cNvSpPr txBox="1"/>
          <p:nvPr/>
        </p:nvSpPr>
        <p:spPr>
          <a:xfrm>
            <a:off x="6727939" y="4719108"/>
            <a:ext cx="34930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дставляем значения и считаем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5BD7A3C-25E4-4EF8-9199-BCF18FF15E69}"/>
                  </a:ext>
                </a:extLst>
              </p:cNvPr>
              <p:cNvSpPr txBox="1"/>
              <p:nvPr/>
            </p:nvSpPr>
            <p:spPr>
              <a:xfrm>
                <a:off x="6930040" y="5064494"/>
                <a:ext cx="2845266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∙20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−13=3 </m:t>
                      </m:r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м/с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5BD7A3C-25E4-4EF8-9199-BCF18FF15E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30040" y="5064494"/>
                <a:ext cx="2845266" cy="520463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>
            <a:extLst>
              <a:ext uri="{FF2B5EF4-FFF2-40B4-BE49-F238E27FC236}">
                <a16:creationId xmlns:a16="http://schemas.microsoft.com/office/drawing/2014/main" id="{B13B9477-CBCE-499A-9CEA-9932DFE3548F}"/>
              </a:ext>
            </a:extLst>
          </p:cNvPr>
          <p:cNvSpPr txBox="1"/>
          <p:nvPr/>
        </p:nvSpPr>
        <p:spPr>
          <a:xfrm>
            <a:off x="496960" y="5736571"/>
            <a:ext cx="24386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авильный ответ: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2854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1964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4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6178051-EBD0-477D-AB75-65424BC0F3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097" y="829408"/>
            <a:ext cx="9041715" cy="1353182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0A2FB6B-60C1-46D2-A732-653125D935AF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ОГЭ-2019. Физика. 25 лучших вариантов </a:t>
            </a:r>
            <a:r>
              <a:rPr lang="ru-RU" sz="1050" dirty="0" err="1"/>
              <a:t>Лужанская</a:t>
            </a:r>
            <a:r>
              <a:rPr lang="ru-RU" sz="1050" dirty="0"/>
              <a:t> К. Р., Щербина А. В., Просвещение, 2019  </a:t>
            </a:r>
          </a:p>
        </p:txBody>
      </p:sp>
    </p:spTree>
    <p:extLst>
      <p:ext uri="{BB962C8B-B14F-4D97-AF65-F5344CB8AC3E}">
        <p14:creationId xmlns:p14="http://schemas.microsoft.com/office/powerpoint/2010/main" val="14785335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1964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4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6178051-EBD0-477D-AB75-65424BC0F3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097" y="829408"/>
            <a:ext cx="9041715" cy="13531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6F729D0-3DCB-47A1-AD79-2FFA1D7DE8AC}"/>
              </a:ext>
            </a:extLst>
          </p:cNvPr>
          <p:cNvSpPr txBox="1"/>
          <p:nvPr/>
        </p:nvSpPr>
        <p:spPr>
          <a:xfrm>
            <a:off x="271097" y="2182590"/>
            <a:ext cx="14950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: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EA37387-187C-4EFD-B653-6EB1183AED15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ОГЭ-2019. Физика. 25 лучших вариантов </a:t>
            </a:r>
            <a:r>
              <a:rPr lang="ru-RU" sz="1050" dirty="0" err="1"/>
              <a:t>Лужанская</a:t>
            </a:r>
            <a:r>
              <a:rPr lang="ru-RU" sz="1050" dirty="0"/>
              <a:t> К. Р., Щербина А. В., Просвещение, 2019 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75D296-C3E1-476B-9D9D-06F4EEE55ADA}"/>
              </a:ext>
            </a:extLst>
          </p:cNvPr>
          <p:cNvSpPr txBox="1"/>
          <p:nvPr/>
        </p:nvSpPr>
        <p:spPr>
          <a:xfrm>
            <a:off x="271097" y="2644255"/>
            <a:ext cx="10780965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начала рассчитаем, чему равна работа по одному подъёму молота. В данном случае используем формулу: </a:t>
            </a:r>
          </a:p>
          <a:p>
            <a:pPr algn="ctr"/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A = </a:t>
            </a:r>
            <a:r>
              <a:rPr lang="en-US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gh</a:t>
            </a:r>
            <a:endParaRPr lang="en-US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ледовательно, для 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-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днятий молота используем формулу:</a:t>
            </a:r>
          </a:p>
          <a:p>
            <a:pPr algn="ctr"/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A = </a:t>
            </a:r>
            <a:r>
              <a:rPr lang="en-US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mgh</a:t>
            </a:r>
            <a:endParaRPr lang="en-US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споминаем формулу для расчёта мощности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Прямоугольник 7">
                <a:extLst>
                  <a:ext uri="{FF2B5EF4-FFF2-40B4-BE49-F238E27FC236}">
                    <a16:creationId xmlns:a16="http://schemas.microsoft.com/office/drawing/2014/main" id="{C10C1D5B-0E31-4D8F-B020-4C601306558F}"/>
                  </a:ext>
                </a:extLst>
              </p:cNvPr>
              <p:cNvSpPr/>
              <p:nvPr/>
            </p:nvSpPr>
            <p:spPr>
              <a:xfrm>
                <a:off x="5205428" y="3815217"/>
                <a:ext cx="912301" cy="6127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𝐴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8" name="Прямоугольник 7">
                <a:extLst>
                  <a:ext uri="{FF2B5EF4-FFF2-40B4-BE49-F238E27FC236}">
                    <a16:creationId xmlns:a16="http://schemas.microsoft.com/office/drawing/2014/main" id="{C10C1D5B-0E31-4D8F-B020-4C601306558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05428" y="3815217"/>
                <a:ext cx="912301" cy="6127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43F7B5CA-D41F-4B61-ACBC-072CFBC4477C}"/>
              </a:ext>
            </a:extLst>
          </p:cNvPr>
          <p:cNvSpPr txBox="1"/>
          <p:nvPr/>
        </p:nvSpPr>
        <p:spPr>
          <a:xfrm>
            <a:off x="266384" y="4339943"/>
            <a:ext cx="58513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бъединим формулы и посчитаем чему равна мощность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Прямоугольник 10">
                <a:extLst>
                  <a:ext uri="{FF2B5EF4-FFF2-40B4-BE49-F238E27FC236}">
                    <a16:creationId xmlns:a16="http://schemas.microsoft.com/office/drawing/2014/main" id="{064D39D5-5DCC-496A-B895-222A4D9DDB21}"/>
                  </a:ext>
                </a:extLst>
              </p:cNvPr>
              <p:cNvSpPr/>
              <p:nvPr/>
            </p:nvSpPr>
            <p:spPr>
              <a:xfrm>
                <a:off x="5964484" y="4215486"/>
                <a:ext cx="1364476" cy="61824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𝑚𝑔h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1" name="Прямоугольник 10">
                <a:extLst>
                  <a:ext uri="{FF2B5EF4-FFF2-40B4-BE49-F238E27FC236}">
                    <a16:creationId xmlns:a16="http://schemas.microsoft.com/office/drawing/2014/main" id="{064D39D5-5DCC-496A-B895-222A4D9DDB2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64484" y="4215486"/>
                <a:ext cx="1364476" cy="61824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Прямоугольник 11">
                <a:extLst>
                  <a:ext uri="{FF2B5EF4-FFF2-40B4-BE49-F238E27FC236}">
                    <a16:creationId xmlns:a16="http://schemas.microsoft.com/office/drawing/2014/main" id="{A0082364-98A7-407D-9D4C-506F1E8BDFE7}"/>
                  </a:ext>
                </a:extLst>
              </p:cNvPr>
              <p:cNvSpPr/>
              <p:nvPr/>
            </p:nvSpPr>
            <p:spPr>
              <a:xfrm>
                <a:off x="3992662" y="4783429"/>
                <a:ext cx="3596690" cy="61831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5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∙900∙10∙0,5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60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1125 </m:t>
                      </m:r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Вт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2" name="Прямоугольник 11">
                <a:extLst>
                  <a:ext uri="{FF2B5EF4-FFF2-40B4-BE49-F238E27FC236}">
                    <a16:creationId xmlns:a16="http://schemas.microsoft.com/office/drawing/2014/main" id="{A0082364-98A7-407D-9D4C-506F1E8BDFE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92662" y="4783429"/>
                <a:ext cx="3596690" cy="61831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F9F1D9FF-28CA-4343-A6F9-738E568004AD}"/>
              </a:ext>
            </a:extLst>
          </p:cNvPr>
          <p:cNvSpPr txBox="1"/>
          <p:nvPr/>
        </p:nvSpPr>
        <p:spPr>
          <a:xfrm>
            <a:off x="496960" y="5736571"/>
            <a:ext cx="27721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авильный ответ: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125</a:t>
            </a:r>
          </a:p>
        </p:txBody>
      </p:sp>
    </p:spTree>
    <p:extLst>
      <p:ext uri="{BB962C8B-B14F-4D97-AF65-F5344CB8AC3E}">
        <p14:creationId xmlns:p14="http://schemas.microsoft.com/office/powerpoint/2010/main" val="40266155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2092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 5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BE6D67F-D826-4CBD-942A-40E935BE49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630" y="824064"/>
            <a:ext cx="8609355" cy="1724566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720BAC3-789E-4803-8902-EC3E258F0D00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ОГЭ-2019. Физика. 25 лучших вариантов </a:t>
            </a:r>
            <a:r>
              <a:rPr lang="ru-RU" sz="1050" dirty="0" err="1"/>
              <a:t>Лужанская</a:t>
            </a:r>
            <a:r>
              <a:rPr lang="ru-RU" sz="1050" dirty="0"/>
              <a:t> К. Р., Щербина А. В., Просвещение, 2019  </a:t>
            </a:r>
          </a:p>
        </p:txBody>
      </p:sp>
    </p:spTree>
    <p:extLst>
      <p:ext uri="{BB962C8B-B14F-4D97-AF65-F5344CB8AC3E}">
        <p14:creationId xmlns:p14="http://schemas.microsoft.com/office/powerpoint/2010/main" val="4491299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2092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 5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BE6D67F-D826-4CBD-942A-40E935BE49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630" y="824064"/>
            <a:ext cx="8609355" cy="1724566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720BAC3-789E-4803-8902-EC3E258F0D00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ОГЭ-2019. Физика. 25 лучших вариантов </a:t>
            </a:r>
            <a:r>
              <a:rPr lang="ru-RU" sz="1050" dirty="0" err="1"/>
              <a:t>Лужанская</a:t>
            </a:r>
            <a:r>
              <a:rPr lang="ru-RU" sz="1050" dirty="0"/>
              <a:t> К. Р., Щербина А. В., Просвещение, 2019 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15B604-0E96-4F12-A1EF-2A37509139D6}"/>
              </a:ext>
            </a:extLst>
          </p:cNvPr>
          <p:cNvSpPr txBox="1"/>
          <p:nvPr/>
        </p:nvSpPr>
        <p:spPr>
          <a:xfrm>
            <a:off x="323630" y="2412754"/>
            <a:ext cx="14950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D9ECDC-BD02-44C9-9D43-FD54E080B58D}"/>
              </a:ext>
            </a:extLst>
          </p:cNvPr>
          <p:cNvSpPr txBox="1"/>
          <p:nvPr/>
        </p:nvSpPr>
        <p:spPr>
          <a:xfrm>
            <a:off x="325483" y="2753456"/>
            <a:ext cx="727628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спомним формулу для расчёта давление, производимо твёрдым телом:</a:t>
            </a:r>
          </a:p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к видно из формулы, давление зависит от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илы, с которой тело давит на поверхность;</a:t>
            </a:r>
          </a:p>
          <a:p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м больше действующая сила, тем больше оказываемое давление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лощади поверхности.</a:t>
            </a:r>
          </a:p>
          <a:p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ем больше площадь поверхности, тем меньше оказываемое давление.</a:t>
            </a:r>
          </a:p>
          <a:p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2AF9F32-D67A-4A80-8432-456D436ACAAC}"/>
                  </a:ext>
                </a:extLst>
              </p:cNvPr>
              <p:cNvSpPr txBox="1"/>
              <p:nvPr/>
            </p:nvSpPr>
            <p:spPr>
              <a:xfrm>
                <a:off x="7601770" y="2633009"/>
                <a:ext cx="761555" cy="57631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2AF9F32-D67A-4A80-8432-456D436ACA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01770" y="2633009"/>
                <a:ext cx="761555" cy="57631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01A82C0D-3601-4E23-B34B-4DD1D1B3C393}"/>
              </a:ext>
            </a:extLst>
          </p:cNvPr>
          <p:cNvSpPr txBox="1"/>
          <p:nvPr/>
        </p:nvSpPr>
        <p:spPr>
          <a:xfrm>
            <a:off x="366322" y="5301026"/>
            <a:ext cx="108195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нашей ситуации, в положении 1 чемодан занимает большую площадь, по сравнению с положением 2, а следовательно давление, которое производит чемодан в положении 1 меньше, чем в положении 2. 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&lt; p</a:t>
            </a:r>
            <a:r>
              <a:rPr lang="en-US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318C837-5A59-42BC-973C-D6CA5B1E4A2D}"/>
              </a:ext>
            </a:extLst>
          </p:cNvPr>
          <p:cNvSpPr txBox="1"/>
          <p:nvPr/>
        </p:nvSpPr>
        <p:spPr>
          <a:xfrm>
            <a:off x="366322" y="4440448"/>
            <a:ext cx="108195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ила, с которой тело действует на опору или подвес называется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есом тела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Поэтому можно утверждать, что чемодан давит на поверхность с силой собственного веса. Вес чемодана в обоих положениях одинаковый, следовательно сила давления одинакова: 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US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= F</a:t>
            </a:r>
            <a:r>
              <a:rPr lang="en-US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557359-DA8F-4D9B-9C46-5A2439E56098}"/>
              </a:ext>
            </a:extLst>
          </p:cNvPr>
          <p:cNvSpPr txBox="1"/>
          <p:nvPr/>
        </p:nvSpPr>
        <p:spPr>
          <a:xfrm>
            <a:off x="432634" y="5947357"/>
            <a:ext cx="24386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авильный ответ: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11710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2108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6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E3F999F-400C-46B1-AA04-6E1EBEFA51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6331" y="795928"/>
            <a:ext cx="9649110" cy="1468969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E03B0AA-C2CE-4F76-96C5-02D8026CA9FC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ОГЭ-2019. Физика. 25 лучших вариантов </a:t>
            </a:r>
            <a:r>
              <a:rPr lang="ru-RU" sz="1050" dirty="0" err="1"/>
              <a:t>Лужанская</a:t>
            </a:r>
            <a:r>
              <a:rPr lang="ru-RU" sz="1050" dirty="0"/>
              <a:t> К. Р., Щербина А. В., Просвещение, 2019  </a:t>
            </a:r>
          </a:p>
        </p:txBody>
      </p:sp>
    </p:spTree>
    <p:extLst>
      <p:ext uri="{BB962C8B-B14F-4D97-AF65-F5344CB8AC3E}">
        <p14:creationId xmlns:p14="http://schemas.microsoft.com/office/powerpoint/2010/main" val="33855563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278975" y="0"/>
            <a:ext cx="637866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Задания № 5-10 – «Решение задач»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48355" y="584775"/>
            <a:ext cx="30893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Что будут проверять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48355" y="1046440"/>
            <a:ext cx="108260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ычислять значение величины при анализе явлений с использованием законов и формул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48354" y="1431160"/>
            <a:ext cx="80826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Сколько баллов можно заработать, решив такое задание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8354" y="1877435"/>
            <a:ext cx="108260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аксимальное количество баллов, которое можно заработать – 1 балл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158221" y="2227857"/>
            <a:ext cx="46201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Алгоритм решения задания: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8354" y="2751077"/>
            <a:ext cx="11429539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. Внимательно прочитать текст задачи;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. На черновике выписать известные величины и при необходимости сделать пояснительный рисунок;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. Выписать формулы необходимые для решения задачи;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4. Преобразовать формулы, учитывая физическую ситуацию в задании и получить итоговую формулу;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5. Произвести математические вычисления;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6. Обратить внимание на единицу измерения, которая указана в ответе в </a:t>
            </a:r>
            <a:r>
              <a:rPr lang="ru-RU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ИМе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7. </a:t>
            </a:r>
            <a:r>
              <a:rPr lang="ru-RU" sz="2000" b="1" u="db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НИМАТЕЛЬНО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еренести получившийся ответ в бланк ответа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ru-RU" sz="2000" b="1" u="dbl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32488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2108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6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E3F999F-400C-46B1-AA04-6E1EBEFA51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6331" y="795928"/>
            <a:ext cx="9649110" cy="14689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94707B2-B511-482D-B323-B1CB5AB6940F}"/>
              </a:ext>
            </a:extLst>
          </p:cNvPr>
          <p:cNvSpPr txBox="1"/>
          <p:nvPr/>
        </p:nvSpPr>
        <p:spPr>
          <a:xfrm>
            <a:off x="246331" y="2100885"/>
            <a:ext cx="14950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: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E03B0AA-C2CE-4F76-96C5-02D8026CA9FC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ОГЭ-2019. Физика. 25 лучших вариантов </a:t>
            </a:r>
            <a:r>
              <a:rPr lang="ru-RU" sz="1050" dirty="0" err="1"/>
              <a:t>Лужанская</a:t>
            </a:r>
            <a:r>
              <a:rPr lang="ru-RU" sz="1050" dirty="0"/>
              <a:t> К. Р., Щербина А. В., Просвещение, 2019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289F37A-F698-47B6-92B8-086125B7A26B}"/>
              </a:ext>
            </a:extLst>
          </p:cNvPr>
          <p:cNvSpPr txBox="1"/>
          <p:nvPr/>
        </p:nvSpPr>
        <p:spPr>
          <a:xfrm>
            <a:off x="282526" y="2459127"/>
            <a:ext cx="99795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ля того, чтобы решить задачу воспользуемся законом сохранения импульса для неупругого удара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79FE6DE-8ABB-4B37-848C-4BE30F4100E7}"/>
                  </a:ext>
                </a:extLst>
              </p:cNvPr>
              <p:cNvSpPr txBox="1"/>
              <p:nvPr/>
            </p:nvSpPr>
            <p:spPr>
              <a:xfrm>
                <a:off x="4502847" y="2828459"/>
                <a:ext cx="1521891" cy="37061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ru-RU" sz="20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</a:rPr>
                        <m:t> </m:t>
                      </m:r>
                      <m:acc>
                        <m:accPr>
                          <m:chr m:val="⃗"/>
                          <m:ctrlPr>
                            <a:rPr lang="ru-RU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e>
                      </m:ac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79FE6DE-8ABB-4B37-848C-4BE30F4100E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02847" y="2828459"/>
                <a:ext cx="1521891" cy="370614"/>
              </a:xfrm>
              <a:prstGeom prst="rect">
                <a:avLst/>
              </a:prstGeom>
              <a:blipFill>
                <a:blip r:embed="rId5"/>
                <a:stretch>
                  <a:fillRect l="-3614" r="-6426" b="-3114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F5437E9-C194-40F1-9B65-46E44DBEAE5F}"/>
                  </a:ext>
                </a:extLst>
              </p:cNvPr>
              <p:cNvSpPr txBox="1"/>
              <p:nvPr/>
            </p:nvSpPr>
            <p:spPr>
              <a:xfrm>
                <a:off x="3522484" y="3183621"/>
                <a:ext cx="3333541" cy="37061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ru-RU" sz="20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(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)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′</m:t>
                          </m:r>
                        </m:e>
                      </m:ac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F5437E9-C194-40F1-9B65-46E44DBEAE5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22484" y="3183621"/>
                <a:ext cx="3333541" cy="370614"/>
              </a:xfrm>
              <a:prstGeom prst="rect">
                <a:avLst/>
              </a:prstGeom>
              <a:blipFill>
                <a:blip r:embed="rId6"/>
                <a:stretch>
                  <a:fillRect l="-731" r="-1645" b="-2950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056FD3D9-60EA-4522-91C2-D710DF28B91B}"/>
              </a:ext>
            </a:extLst>
          </p:cNvPr>
          <p:cNvSpPr txBox="1"/>
          <p:nvPr/>
        </p:nvSpPr>
        <p:spPr>
          <a:xfrm>
            <a:off x="282526" y="3636811"/>
            <a:ext cx="110359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ассуждаем. Второй шар в момент удара был неподвижен, следовательно его скорость была равна нулю, а следовательно импульс до удара был также равен нулю. Перепишем вторую формулу с учётом условия и выразим скорость первого шара до удара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27439AC-EAF6-4C54-A20C-AC481841E2B5}"/>
                  </a:ext>
                </a:extLst>
              </p:cNvPr>
              <p:cNvSpPr txBox="1"/>
              <p:nvPr/>
            </p:nvSpPr>
            <p:spPr>
              <a:xfrm>
                <a:off x="684768" y="4560141"/>
                <a:ext cx="2392130" cy="37061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ru-RU" sz="20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(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)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′</m:t>
                          </m:r>
                        </m:e>
                      </m:ac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27439AC-EAF6-4C54-A20C-AC481841E2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4768" y="4560141"/>
                <a:ext cx="2392130" cy="370614"/>
              </a:xfrm>
              <a:prstGeom prst="rect">
                <a:avLst/>
              </a:prstGeom>
              <a:blipFill>
                <a:blip r:embed="rId7"/>
                <a:stretch>
                  <a:fillRect l="-1018" r="-2545" b="-2950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4A4D90EA-29A4-45E4-9624-B4AEAB113DEE}"/>
                  </a:ext>
                </a:extLst>
              </p:cNvPr>
              <p:cNvSpPr txBox="1"/>
              <p:nvPr/>
            </p:nvSpPr>
            <p:spPr>
              <a:xfrm>
                <a:off x="4078268" y="4560141"/>
                <a:ext cx="4035464" cy="58676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 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′</m:t>
                          </m:r>
                        </m:num>
                        <m:den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4+2)∙2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3 </m:t>
                      </m:r>
                      <m:r>
                        <a:rPr lang="ru-RU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м/с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4A4D90EA-29A4-45E4-9624-B4AEAB113D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78268" y="4560141"/>
                <a:ext cx="4035464" cy="586764"/>
              </a:xfrm>
              <a:prstGeom prst="rect">
                <a:avLst/>
              </a:prstGeom>
              <a:blipFill>
                <a:blip r:embed="rId8"/>
                <a:stretch>
                  <a:fillRect b="-104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Box 13">
            <a:extLst>
              <a:ext uri="{FF2B5EF4-FFF2-40B4-BE49-F238E27FC236}">
                <a16:creationId xmlns:a16="http://schemas.microsoft.com/office/drawing/2014/main" id="{6BF5BA1C-B741-47A2-B742-42ED1BCE6FBA}"/>
              </a:ext>
            </a:extLst>
          </p:cNvPr>
          <p:cNvSpPr txBox="1"/>
          <p:nvPr/>
        </p:nvSpPr>
        <p:spPr>
          <a:xfrm>
            <a:off x="522079" y="5435922"/>
            <a:ext cx="24386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авильный ответ: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9125984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0954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7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07743FB-1FE5-4B94-A6D8-5226E912C6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677" y="729106"/>
            <a:ext cx="8778240" cy="2770713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46CE6C5-144C-4111-876C-A008B2928740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Физика. Тетрадь-тренажёр. 7 класс Артеменков Д. А., </a:t>
            </a:r>
            <a:r>
              <a:rPr lang="ru-RU" sz="1050" dirty="0" err="1"/>
              <a:t>Белага</a:t>
            </a:r>
            <a:r>
              <a:rPr lang="ru-RU" sz="1050" dirty="0"/>
              <a:t> В. В., Воронцова Н. И. и др. / Под ред. </a:t>
            </a:r>
            <a:r>
              <a:rPr lang="ru-RU" sz="1050" dirty="0" err="1"/>
              <a:t>Панебратцева</a:t>
            </a:r>
            <a:r>
              <a:rPr lang="ru-RU" sz="1050" dirty="0"/>
              <a:t> Ю. А., Просвещение, 2019 </a:t>
            </a:r>
          </a:p>
        </p:txBody>
      </p:sp>
    </p:spTree>
    <p:extLst>
      <p:ext uri="{BB962C8B-B14F-4D97-AF65-F5344CB8AC3E}">
        <p14:creationId xmlns:p14="http://schemas.microsoft.com/office/powerpoint/2010/main" val="7164084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1579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7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07743FB-1FE5-4B94-A6D8-5226E912C6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677" y="729106"/>
            <a:ext cx="8778240" cy="27707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6FFA138-AE8B-44A5-A536-41F5FADBFB4B}"/>
              </a:ext>
            </a:extLst>
          </p:cNvPr>
          <p:cNvSpPr txBox="1"/>
          <p:nvPr/>
        </p:nvSpPr>
        <p:spPr>
          <a:xfrm>
            <a:off x="140677" y="3429000"/>
            <a:ext cx="14950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: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A2B9725-ABD4-4705-8A2A-3BEB6AB616C1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Физика. Тетрадь-тренажёр. 7 класс Артеменков Д. А., </a:t>
            </a:r>
            <a:r>
              <a:rPr lang="ru-RU" sz="1050" dirty="0" err="1"/>
              <a:t>Белага</a:t>
            </a:r>
            <a:r>
              <a:rPr lang="ru-RU" sz="1050" dirty="0"/>
              <a:t> В. В., Воронцова Н. И. и др. / Под ред. </a:t>
            </a:r>
            <a:r>
              <a:rPr lang="ru-RU" sz="1050" dirty="0" err="1"/>
              <a:t>Панебратцева</a:t>
            </a:r>
            <a:r>
              <a:rPr lang="ru-RU" sz="1050" dirty="0"/>
              <a:t> Ю. А., Просвещение, 2019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FDD589-EC2D-4E25-BD1C-6CAFF45E6017}"/>
              </a:ext>
            </a:extLst>
          </p:cNvPr>
          <p:cNvSpPr txBox="1"/>
          <p:nvPr/>
        </p:nvSpPr>
        <p:spPr>
          <a:xfrm>
            <a:off x="282526" y="3890665"/>
            <a:ext cx="53482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оспользуемся правилом моментов сил для рычага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A167C2E-E77B-43F9-8902-AE57251D81A4}"/>
                  </a:ext>
                </a:extLst>
              </p:cNvPr>
              <p:cNvSpPr txBox="1"/>
              <p:nvPr/>
            </p:nvSpPr>
            <p:spPr>
              <a:xfrm>
                <a:off x="5900057" y="3936831"/>
                <a:ext cx="98219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FA167C2E-E77B-43F9-8902-AE57251D81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00057" y="3936831"/>
                <a:ext cx="982192" cy="276999"/>
              </a:xfrm>
              <a:prstGeom prst="rect">
                <a:avLst/>
              </a:prstGeom>
              <a:blipFill>
                <a:blip r:embed="rId5"/>
                <a:stretch>
                  <a:fillRect l="-5590" r="-1863" b="-1555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9F935C8-37E4-49B2-A6B6-D55BD7E80E78}"/>
                  </a:ext>
                </a:extLst>
              </p:cNvPr>
              <p:cNvSpPr txBox="1"/>
              <p:nvPr/>
            </p:nvSpPr>
            <p:spPr>
              <a:xfrm>
                <a:off x="7307943" y="3936830"/>
                <a:ext cx="1200137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9F935C8-37E4-49B2-A6B6-D55BD7E80E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07943" y="3936830"/>
                <a:ext cx="1200137" cy="276999"/>
              </a:xfrm>
              <a:prstGeom prst="rect">
                <a:avLst/>
              </a:prstGeom>
              <a:blipFill>
                <a:blip r:embed="rId6"/>
                <a:stretch>
                  <a:fillRect l="-4569" r="-1523" b="-1555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7E2644C0-B414-419E-A473-AE2E191FB10A}"/>
              </a:ext>
            </a:extLst>
          </p:cNvPr>
          <p:cNvSpPr txBox="1"/>
          <p:nvPr/>
        </p:nvSpPr>
        <p:spPr>
          <a:xfrm>
            <a:off x="282526" y="4259997"/>
            <a:ext cx="19143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ыразим силу 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US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FC7D228-530A-4057-954A-D274AF60FA43}"/>
                  </a:ext>
                </a:extLst>
              </p:cNvPr>
              <p:cNvSpPr txBox="1"/>
              <p:nvPr/>
            </p:nvSpPr>
            <p:spPr>
              <a:xfrm>
                <a:off x="2466105" y="4218330"/>
                <a:ext cx="1020664" cy="57124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FC7D228-530A-4057-954A-D274AF60FA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66105" y="4218330"/>
                <a:ext cx="1020664" cy="57124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2081DB77-74FD-4A7A-AF90-A8EF81C93D96}"/>
              </a:ext>
            </a:extLst>
          </p:cNvPr>
          <p:cNvSpPr txBox="1"/>
          <p:nvPr/>
        </p:nvSpPr>
        <p:spPr>
          <a:xfrm>
            <a:off x="307389" y="4969384"/>
            <a:ext cx="13283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считаем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A06B05D-CBB6-476E-ABC5-BC4E9E529A9D}"/>
                  </a:ext>
                </a:extLst>
              </p:cNvPr>
              <p:cNvSpPr txBox="1"/>
              <p:nvPr/>
            </p:nvSpPr>
            <p:spPr>
              <a:xfrm>
                <a:off x="1686501" y="4911523"/>
                <a:ext cx="2125903" cy="54970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12</m:t>
                          </m:r>
                          <m:r>
                            <a:rPr lang="ru-R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∙0,3</m:t>
                          </m:r>
                        </m:num>
                        <m:den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0,2</m:t>
                          </m:r>
                        </m:den>
                      </m:f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=18 Н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A06B05D-CBB6-476E-ABC5-BC4E9E529A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86501" y="4911523"/>
                <a:ext cx="2125903" cy="54970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956CFD25-A6E3-478D-ABD3-BC07A7D6D460}"/>
              </a:ext>
            </a:extLst>
          </p:cNvPr>
          <p:cNvSpPr txBox="1"/>
          <p:nvPr/>
        </p:nvSpPr>
        <p:spPr>
          <a:xfrm>
            <a:off x="7066082" y="1317725"/>
            <a:ext cx="2883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БРАТИТЕ ВНИМАНИЕ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410EEC-A8A4-467F-A85B-96EC2E1C7232}"/>
              </a:ext>
            </a:extLst>
          </p:cNvPr>
          <p:cNvSpPr txBox="1"/>
          <p:nvPr/>
        </p:nvSpPr>
        <p:spPr>
          <a:xfrm>
            <a:off x="6185789" y="1665056"/>
            <a:ext cx="50000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м дано плечо силы 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US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 длина всего рычага. Для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того чтобы найти плечо силы 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US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ужно из длины рычага вычесть плечо силы 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US" i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лечо силы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US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будет равно 20 см или 0,2 м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20D26B4-977D-4101-908F-08C81C9BF5E2}"/>
              </a:ext>
            </a:extLst>
          </p:cNvPr>
          <p:cNvSpPr txBox="1"/>
          <p:nvPr/>
        </p:nvSpPr>
        <p:spPr>
          <a:xfrm>
            <a:off x="307389" y="5678771"/>
            <a:ext cx="25540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авильный ответ: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5512501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517" y="3368038"/>
            <a:ext cx="2512773" cy="348996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71089"/>
            <a:ext cx="3486912" cy="348691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6188" y="2243328"/>
            <a:ext cx="3731395" cy="461467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60518" y="699145"/>
            <a:ext cx="10112064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6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Попробуйте выполнить сами!</a:t>
            </a:r>
          </a:p>
          <a:p>
            <a:pPr algn="ctr"/>
            <a:r>
              <a:rPr lang="ru-RU" sz="36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(или домашнее задание)</a:t>
            </a:r>
            <a:endParaRPr lang="ru-RU" sz="32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9959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4A39308-EC0E-478A-BFB4-ABBDE07CF9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513" y="233747"/>
            <a:ext cx="9427913" cy="2101489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99C42FC-01F4-4614-9240-01B20F5C6A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512" y="2335236"/>
            <a:ext cx="8685555" cy="124079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DDDDFFE-E70E-4028-B8B2-627B1477A6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5299" y="3576030"/>
            <a:ext cx="9253301" cy="2360536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35E607B-1033-4117-9126-897A47E33A8B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ОГЭ-2019. Физика. 25 лучших вариантов </a:t>
            </a:r>
            <a:r>
              <a:rPr lang="ru-RU" sz="1050" dirty="0" err="1"/>
              <a:t>Лужанская</a:t>
            </a:r>
            <a:r>
              <a:rPr lang="ru-RU" sz="1050" dirty="0"/>
              <a:t> К. Р., Щербина А. В., Просвещение, 2019  </a:t>
            </a:r>
          </a:p>
        </p:txBody>
      </p:sp>
    </p:spTree>
    <p:extLst>
      <p:ext uri="{BB962C8B-B14F-4D97-AF65-F5344CB8AC3E}">
        <p14:creationId xmlns:p14="http://schemas.microsoft.com/office/powerpoint/2010/main" val="12721467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CD8387D-0CD2-48D3-BB2D-F81109638C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110" y="233748"/>
            <a:ext cx="7327730" cy="2971861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049CB82-F7FF-4ECD-88FC-1AFCB90EFE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772" y="3205609"/>
            <a:ext cx="7290728" cy="3159315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9530B5D-18F9-4F4E-894C-F00B25C2D8EA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Физика. Тетрадь-тренажёр. 9 класс Артеменков Д. А., </a:t>
            </a:r>
            <a:r>
              <a:rPr lang="ru-RU" sz="1050" dirty="0" err="1"/>
              <a:t>Белага</a:t>
            </a:r>
            <a:r>
              <a:rPr lang="ru-RU" sz="1050" dirty="0"/>
              <a:t> В. В., Воронцова Н. И. и др. / Под ред. </a:t>
            </a:r>
            <a:r>
              <a:rPr lang="ru-RU" sz="1050" dirty="0" err="1"/>
              <a:t>Панебратцева</a:t>
            </a:r>
            <a:r>
              <a:rPr lang="ru-RU" sz="1050" dirty="0"/>
              <a:t> Ю. А., Просвещение, 2019 </a:t>
            </a:r>
          </a:p>
        </p:txBody>
      </p:sp>
    </p:spTree>
    <p:extLst>
      <p:ext uri="{BB962C8B-B14F-4D97-AF65-F5344CB8AC3E}">
        <p14:creationId xmlns:p14="http://schemas.microsoft.com/office/powerpoint/2010/main" val="28392705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CE875A4-6333-4372-8805-E906B71A70C6}"/>
              </a:ext>
            </a:extLst>
          </p:cNvPr>
          <p:cNvSpPr txBox="1"/>
          <p:nvPr/>
        </p:nvSpPr>
        <p:spPr>
          <a:xfrm>
            <a:off x="3003164" y="0"/>
            <a:ext cx="5969904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НА СЕГОДНЯШНЕМ ЗАНЯТИИ</a:t>
            </a:r>
          </a:p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МЫ ИСПОЛЬЗОВАЛИ: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C34C64-C283-4616-81EB-DF7F085B92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1991" y="1319907"/>
            <a:ext cx="2079949" cy="2783386"/>
          </a:xfrm>
          <a:prstGeom prst="rect">
            <a:avLst/>
          </a:prstGeom>
        </p:spPr>
      </p:pic>
      <p:pic>
        <p:nvPicPr>
          <p:cNvPr id="9" name="Рисунок 8" descr="Изображение выглядит как внешний,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65AAC113-DE4A-40EA-9171-078005A060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551" y="472107"/>
            <a:ext cx="2292526" cy="30237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 descr="Изображение выглядит как часы, устройство&#10;&#10;Автоматически созданное описание">
            <a:extLst>
              <a:ext uri="{FF2B5EF4-FFF2-40B4-BE49-F238E27FC236}">
                <a16:creationId xmlns:a16="http://schemas.microsoft.com/office/drawing/2014/main" id="{987E54FA-DE8C-4DA3-AF89-60B9E2FDA44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7931" y="1319907"/>
            <a:ext cx="1512567" cy="2024117"/>
          </a:xfrm>
          <a:prstGeom prst="rect">
            <a:avLst/>
          </a:prstGeom>
        </p:spPr>
      </p:pic>
      <p:pic>
        <p:nvPicPr>
          <p:cNvPr id="15" name="Рисунок 14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6C220F6E-F54E-4E27-9962-67A319B85AB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1576" y="2018937"/>
            <a:ext cx="1587570" cy="2119329"/>
          </a:xfrm>
          <a:prstGeom prst="rect">
            <a:avLst/>
          </a:prstGeom>
        </p:spPr>
      </p:pic>
      <p:pic>
        <p:nvPicPr>
          <p:cNvPr id="17" name="Рисунок 16" descr="Изображение выглядит как здание, текст, знак, остановка&#10;&#10;Автоматически созданное описание">
            <a:extLst>
              <a:ext uri="{FF2B5EF4-FFF2-40B4-BE49-F238E27FC236}">
                <a16:creationId xmlns:a16="http://schemas.microsoft.com/office/drawing/2014/main" id="{B33B1F67-1362-4607-9AC5-178B8D7C24D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864" y="1319907"/>
            <a:ext cx="2079949" cy="2818359"/>
          </a:xfrm>
          <a:prstGeom prst="rect">
            <a:avLst/>
          </a:prstGeom>
        </p:spPr>
      </p:pic>
      <p:sp>
        <p:nvSpPr>
          <p:cNvPr id="18" name="Прямоугольник 17">
            <a:hlinkClick r:id="rId9"/>
            <a:extLst>
              <a:ext uri="{FF2B5EF4-FFF2-40B4-BE49-F238E27FC236}">
                <a16:creationId xmlns:a16="http://schemas.microsoft.com/office/drawing/2014/main" id="{F171C795-6FE3-40C2-9D18-E1B054FC5205}"/>
              </a:ext>
            </a:extLst>
          </p:cNvPr>
          <p:cNvSpPr/>
          <p:nvPr/>
        </p:nvSpPr>
        <p:spPr>
          <a:xfrm>
            <a:off x="124632" y="3506733"/>
            <a:ext cx="2810612" cy="92333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ГЭ. Физика. Справочник с комментариями ведущих экспертов</a:t>
            </a:r>
          </a:p>
        </p:txBody>
      </p:sp>
      <p:sp>
        <p:nvSpPr>
          <p:cNvPr id="19" name="Прямоугольник 18">
            <a:hlinkClick r:id="rId10"/>
            <a:extLst>
              <a:ext uri="{FF2B5EF4-FFF2-40B4-BE49-F238E27FC236}">
                <a16:creationId xmlns:a16="http://schemas.microsoft.com/office/drawing/2014/main" id="{DD20474F-84D8-4695-A7E3-98686C9D874A}"/>
              </a:ext>
            </a:extLst>
          </p:cNvPr>
          <p:cNvSpPr/>
          <p:nvPr/>
        </p:nvSpPr>
        <p:spPr>
          <a:xfrm>
            <a:off x="3078641" y="4138266"/>
            <a:ext cx="2502393" cy="646331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ГЭ-2019. Физика. </a:t>
            </a:r>
          </a:p>
          <a:p>
            <a:pPr algn="ctr"/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5 лучших вариантов</a:t>
            </a:r>
          </a:p>
        </p:txBody>
      </p:sp>
      <p:sp>
        <p:nvSpPr>
          <p:cNvPr id="20" name="Прямоугольник 19">
            <a:hlinkClick r:id="rId11"/>
            <a:extLst>
              <a:ext uri="{FF2B5EF4-FFF2-40B4-BE49-F238E27FC236}">
                <a16:creationId xmlns:a16="http://schemas.microsoft.com/office/drawing/2014/main" id="{F13C2997-BE5F-420D-BD5B-708EE3F11578}"/>
              </a:ext>
            </a:extLst>
          </p:cNvPr>
          <p:cNvSpPr/>
          <p:nvPr/>
        </p:nvSpPr>
        <p:spPr>
          <a:xfrm>
            <a:off x="6172579" y="4138266"/>
            <a:ext cx="2298771" cy="369332"/>
          </a:xfrm>
          <a:prstGeom prst="rect">
            <a:avLst/>
          </a:prstGeom>
          <a:solidFill>
            <a:srgbClr val="002060"/>
          </a:solidFill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Я сдам ОГЭ! Физика.</a:t>
            </a:r>
          </a:p>
        </p:txBody>
      </p:sp>
      <p:sp>
        <p:nvSpPr>
          <p:cNvPr id="23" name="Прямоугольник 22">
            <a:hlinkClick r:id="rId12"/>
            <a:extLst>
              <a:ext uri="{FF2B5EF4-FFF2-40B4-BE49-F238E27FC236}">
                <a16:creationId xmlns:a16="http://schemas.microsoft.com/office/drawing/2014/main" id="{7B8297AA-C349-49A1-92A2-CE9AE3FE4E2F}"/>
              </a:ext>
            </a:extLst>
          </p:cNvPr>
          <p:cNvSpPr/>
          <p:nvPr/>
        </p:nvSpPr>
        <p:spPr>
          <a:xfrm>
            <a:off x="8776915" y="4138266"/>
            <a:ext cx="2871107" cy="369332"/>
          </a:xfrm>
          <a:prstGeom prst="rect">
            <a:avLst/>
          </a:prstGeom>
          <a:solidFill>
            <a:srgbClr val="002060"/>
          </a:solidFill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изика. Тетрадь-тренажёр.</a:t>
            </a:r>
            <a:endParaRPr lang="ru-RU" i="0" u="none" strike="noStrik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89131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7766C25-4118-4F6C-8770-14449CA493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6730" y="652262"/>
            <a:ext cx="10101182" cy="331482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4A4E279-9A2F-4D81-B873-618F34B32B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2495" y="3763620"/>
            <a:ext cx="10246256" cy="201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403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523585-4302-4F38-8AEA-E18C73380EC6}"/>
              </a:ext>
            </a:extLst>
          </p:cNvPr>
          <p:cNvSpPr txBox="1"/>
          <p:nvPr/>
        </p:nvSpPr>
        <p:spPr>
          <a:xfrm>
            <a:off x="1912034" y="0"/>
            <a:ext cx="902522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ХОТИТЕ ЗНАТЬ БОЛЬШЕ? ВАМ ПОМОГУТ</a:t>
            </a:r>
          </a:p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УЧЕБНИКИ ИЗДАТЕЛЬСТВА «ПРОСВЩЕНИЕ» 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7F162870-03A7-4860-91FE-8CB339E5C08C}"/>
              </a:ext>
            </a:extLst>
          </p:cNvPr>
          <p:cNvGrpSpPr/>
          <p:nvPr/>
        </p:nvGrpSpPr>
        <p:grpSpPr>
          <a:xfrm>
            <a:off x="824351" y="1658316"/>
            <a:ext cx="2474107" cy="4249741"/>
            <a:chOff x="301750" y="914398"/>
            <a:chExt cx="2474107" cy="4249741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769BEB62-C75A-41F3-BB46-A3389167CA08}"/>
                </a:ext>
              </a:extLst>
            </p:cNvPr>
            <p:cNvGrpSpPr/>
            <p:nvPr/>
          </p:nvGrpSpPr>
          <p:grpSpPr>
            <a:xfrm>
              <a:off x="301750" y="914398"/>
              <a:ext cx="2474107" cy="2002973"/>
              <a:chOff x="377950" y="936169"/>
              <a:chExt cx="3083708" cy="2503717"/>
            </a:xfrm>
          </p:grpSpPr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759712FD-EF9E-4F15-9215-2A66590A2C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950" y="936169"/>
                <a:ext cx="1473492" cy="195943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" name="Рисунок 9">
                <a:extLst>
                  <a:ext uri="{FF2B5EF4-FFF2-40B4-BE49-F238E27FC236}">
                    <a16:creationId xmlns:a16="http://schemas.microsoft.com/office/drawing/2014/main" id="{789A53A1-487F-4912-A2E8-A36D52B04F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14696" y="1208312"/>
                <a:ext cx="1514641" cy="195943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1" name="Рисунок 10">
                <a:extLst>
                  <a:ext uri="{FF2B5EF4-FFF2-40B4-BE49-F238E27FC236}">
                    <a16:creationId xmlns:a16="http://schemas.microsoft.com/office/drawing/2014/main" id="{F1732C8C-18F9-4DEB-9694-6C0A0C08F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1396" y="1484162"/>
                <a:ext cx="1490262" cy="1955724"/>
              </a:xfrm>
              <a:prstGeom prst="rect">
                <a:avLst/>
              </a:prstGeom>
            </p:spPr>
          </p:pic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F5D20F1-54B3-4ABE-9F36-CCE9BBE8562B}"/>
                </a:ext>
              </a:extLst>
            </p:cNvPr>
            <p:cNvSpPr txBox="1"/>
            <p:nvPr/>
          </p:nvSpPr>
          <p:spPr>
            <a:xfrm>
              <a:off x="301750" y="2917370"/>
              <a:ext cx="2474107" cy="923330"/>
            </a:xfrm>
            <a:prstGeom prst="rect">
              <a:avLst/>
            </a:prstGeom>
            <a:solidFill>
              <a:srgbClr val="7030A0"/>
            </a:solidFill>
            <a:ln>
              <a:solidFill>
                <a:srgbClr val="7030A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УМК «Сферы»</a:t>
              </a:r>
            </a:p>
            <a:p>
              <a:pPr algn="ctr">
                <a:defRPr/>
              </a:pP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Авт. </a:t>
              </a:r>
              <a:r>
                <a:rPr lang="ru-RU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Ю.А.Панебратцев</a:t>
              </a: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</a:p>
            <a:p>
              <a:pPr algn="ctr">
                <a:defRPr/>
              </a:pPr>
              <a:r>
                <a:rPr lang="ru-RU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В.В.Белага</a:t>
              </a: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 и др.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D41E22-3C9B-4370-95C2-C09006EBC4A2}"/>
                </a:ext>
              </a:extLst>
            </p:cNvPr>
            <p:cNvSpPr txBox="1"/>
            <p:nvPr/>
          </p:nvSpPr>
          <p:spPr>
            <a:xfrm>
              <a:off x="301750" y="3840700"/>
              <a:ext cx="2474107" cy="1323439"/>
            </a:xfrm>
            <a:prstGeom prst="rect">
              <a:avLst/>
            </a:prstGeom>
            <a:noFill/>
            <a:ln>
              <a:solidFill>
                <a:srgbClr val="7030A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20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В ФПУ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1.1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1.2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1.3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4E59E4C4-C5F0-4991-97E8-A8C1878D4315}"/>
              </a:ext>
            </a:extLst>
          </p:cNvPr>
          <p:cNvGrpSpPr/>
          <p:nvPr/>
        </p:nvGrpSpPr>
        <p:grpSpPr>
          <a:xfrm>
            <a:off x="4714929" y="1658316"/>
            <a:ext cx="2374065" cy="4249741"/>
            <a:chOff x="3091543" y="914398"/>
            <a:chExt cx="2374065" cy="4249741"/>
          </a:xfrm>
        </p:grpSpPr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87D5AE2B-3711-47DB-B465-8A1C6F983C1B}"/>
                </a:ext>
              </a:extLst>
            </p:cNvPr>
            <p:cNvGrpSpPr/>
            <p:nvPr/>
          </p:nvGrpSpPr>
          <p:grpSpPr>
            <a:xfrm>
              <a:off x="3091543" y="914398"/>
              <a:ext cx="2374064" cy="1997835"/>
              <a:chOff x="3091543" y="914398"/>
              <a:chExt cx="2374064" cy="1997835"/>
            </a:xfrm>
          </p:grpSpPr>
          <p:pic>
            <p:nvPicPr>
              <p:cNvPr id="16" name="Рисунок 15">
                <a:extLst>
                  <a:ext uri="{FF2B5EF4-FFF2-40B4-BE49-F238E27FC236}">
                    <a16:creationId xmlns:a16="http://schemas.microsoft.com/office/drawing/2014/main" id="{1D25823A-AC14-4654-A283-4E0DD298F0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91543" y="914398"/>
                <a:ext cx="1142489" cy="156754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7" name="Рисунок 16">
                <a:extLst>
                  <a:ext uri="{FF2B5EF4-FFF2-40B4-BE49-F238E27FC236}">
                    <a16:creationId xmlns:a16="http://schemas.microsoft.com/office/drawing/2014/main" id="{C3F07155-E10F-47A6-8AB7-084B480FBB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97258" y="1126975"/>
                <a:ext cx="1162634" cy="157268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8" name="Рисунок 17">
                <a:extLst>
                  <a:ext uri="{FF2B5EF4-FFF2-40B4-BE49-F238E27FC236}">
                    <a16:creationId xmlns:a16="http://schemas.microsoft.com/office/drawing/2014/main" id="{43FB044E-B671-4995-AF3F-03C64A7A36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09084" y="1352792"/>
                <a:ext cx="1156523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B4DEAD3-00DC-4F18-BCFA-14F8F4CE4C81}"/>
                </a:ext>
              </a:extLst>
            </p:cNvPr>
            <p:cNvSpPr txBox="1"/>
            <p:nvPr/>
          </p:nvSpPr>
          <p:spPr>
            <a:xfrm>
              <a:off x="3091543" y="2912233"/>
              <a:ext cx="2374064" cy="923330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УМК «Классический»</a:t>
              </a:r>
            </a:p>
            <a:p>
              <a:pPr algn="ctr">
                <a:defRPr/>
              </a:pPr>
              <a:r>
                <a:rPr lang="ru-RU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Авт. </a:t>
              </a:r>
              <a:r>
                <a:rPr lang="ru-RU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С.В.Громов</a:t>
              </a:r>
              <a:endParaRPr lang="ru-RU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>
                <a:defRPr/>
              </a:pPr>
              <a:r>
                <a:rPr lang="ru-RU" dirty="0" err="1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Н.А.Родина</a:t>
              </a:r>
              <a:endParaRPr lang="ru-RU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C303163-DD96-495D-AE0B-A0C90BFB050E}"/>
                </a:ext>
              </a:extLst>
            </p:cNvPr>
            <p:cNvSpPr txBox="1"/>
            <p:nvPr/>
          </p:nvSpPr>
          <p:spPr>
            <a:xfrm>
              <a:off x="3091544" y="3840700"/>
              <a:ext cx="2374064" cy="1323439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20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В ФПУ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1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2</a:t>
              </a:r>
            </a:p>
            <a:p>
              <a:pPr algn="ctr">
                <a:defRPr/>
              </a:pPr>
              <a:r>
                <a:rPr lang="ru-RU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3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336ADEAE-E36B-4567-B8A3-DC20E16EB2A2}"/>
              </a:ext>
            </a:extLst>
          </p:cNvPr>
          <p:cNvGrpSpPr/>
          <p:nvPr/>
        </p:nvGrpSpPr>
        <p:grpSpPr>
          <a:xfrm>
            <a:off x="8725498" y="1658316"/>
            <a:ext cx="2381611" cy="4269971"/>
            <a:chOff x="5692998" y="914398"/>
            <a:chExt cx="2381611" cy="4269971"/>
          </a:xfrm>
        </p:grpSpPr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B4834E51-E955-4810-A0D4-88406E3330EE}"/>
                </a:ext>
              </a:extLst>
            </p:cNvPr>
            <p:cNvGrpSpPr/>
            <p:nvPr/>
          </p:nvGrpSpPr>
          <p:grpSpPr>
            <a:xfrm>
              <a:off x="5695591" y="914398"/>
              <a:ext cx="2379018" cy="1997834"/>
              <a:chOff x="5695591" y="914398"/>
              <a:chExt cx="2379018" cy="1997834"/>
            </a:xfrm>
          </p:grpSpPr>
          <p:pic>
            <p:nvPicPr>
              <p:cNvPr id="23" name="Рисунок 22">
                <a:extLst>
                  <a:ext uri="{FF2B5EF4-FFF2-40B4-BE49-F238E27FC236}">
                    <a16:creationId xmlns:a16="http://schemas.microsoft.com/office/drawing/2014/main" id="{4E0063EE-FEDA-45EB-B8B1-1F9B949D0B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95591" y="914398"/>
                <a:ext cx="1161784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4" name="Рисунок 23">
                <a:extLst>
                  <a:ext uri="{FF2B5EF4-FFF2-40B4-BE49-F238E27FC236}">
                    <a16:creationId xmlns:a16="http://schemas.microsoft.com/office/drawing/2014/main" id="{7EFACAA2-3A21-44D0-80C8-980195F6F3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32798" y="1127531"/>
                <a:ext cx="1149224" cy="1572125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5" name="Рисунок 24">
                <a:extLst>
                  <a:ext uri="{FF2B5EF4-FFF2-40B4-BE49-F238E27FC236}">
                    <a16:creationId xmlns:a16="http://schemas.microsoft.com/office/drawing/2014/main" id="{EB8E945F-1ACC-41BC-B188-BC3CEDD2BE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89434" y="1352791"/>
                <a:ext cx="1185175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E6B0B8B-F1CE-4039-BE43-2F29DE901BFB}"/>
                </a:ext>
              </a:extLst>
            </p:cNvPr>
            <p:cNvSpPr txBox="1"/>
            <p:nvPr/>
          </p:nvSpPr>
          <p:spPr>
            <a:xfrm>
              <a:off x="5692999" y="2924916"/>
              <a:ext cx="2381609" cy="923330"/>
            </a:xfrm>
            <a:prstGeom prst="rect">
              <a:avLst/>
            </a:prstGeom>
            <a:solidFill>
              <a:srgbClr val="70AD47">
                <a:lumMod val="50000"/>
              </a:srgbClr>
            </a:solidFill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</a:rPr>
                <a:t>УМК «Архимед»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Авт. </a:t>
              </a:r>
              <a:r>
                <a: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О.Ф.Кабардин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2463C54-140B-431E-AE0C-1ADE5E36A2B2}"/>
                </a:ext>
              </a:extLst>
            </p:cNvPr>
            <p:cNvSpPr txBox="1"/>
            <p:nvPr/>
          </p:nvSpPr>
          <p:spPr>
            <a:xfrm>
              <a:off x="5692998" y="3860930"/>
              <a:ext cx="2381610" cy="1323439"/>
            </a:xfrm>
            <a:prstGeom prst="rect">
              <a:avLst/>
            </a:prstGeom>
            <a:noFill/>
            <a:ln>
              <a:solidFill>
                <a:srgbClr val="70AD47">
                  <a:lumMod val="50000"/>
                </a:srgb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В ФПУ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1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2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1.2.5.1.4.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60023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981473E-A0F5-4C5F-A247-3B523D6F6C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535" y="1323439"/>
            <a:ext cx="9660988" cy="5361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5523585-4302-4F38-8AEA-E18C73380EC6}"/>
              </a:ext>
            </a:extLst>
          </p:cNvPr>
          <p:cNvSpPr txBox="1"/>
          <p:nvPr/>
        </p:nvSpPr>
        <p:spPr>
          <a:xfrm>
            <a:off x="1912034" y="0"/>
            <a:ext cx="77187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БЕСПЛАТНЫЙ ДОСТУП К УЧЕБНИКАМ</a:t>
            </a:r>
          </a:p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МЕДИАТЕКА «ПРОСВЕЩЕНИЕ» </a:t>
            </a:r>
          </a:p>
        </p:txBody>
      </p:sp>
    </p:spTree>
    <p:extLst>
      <p:ext uri="{BB962C8B-B14F-4D97-AF65-F5344CB8AC3E}">
        <p14:creationId xmlns:p14="http://schemas.microsoft.com/office/powerpoint/2010/main" val="13753543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4E02EE-FF8B-4EA3-A3AE-CD2601DC3639}"/>
              </a:ext>
            </a:extLst>
          </p:cNvPr>
          <p:cNvSpPr txBox="1"/>
          <p:nvPr/>
        </p:nvSpPr>
        <p:spPr>
          <a:xfrm>
            <a:off x="2580454" y="0"/>
            <a:ext cx="70310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КИНЕМАТИКА. ОСНОВНЫЕ ФОРМУЛЫ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E7CE441-940B-4E08-BF67-5C38175BAFD9}"/>
              </a:ext>
            </a:extLst>
          </p:cNvPr>
          <p:cNvSpPr/>
          <p:nvPr/>
        </p:nvSpPr>
        <p:spPr>
          <a:xfrm>
            <a:off x="261133" y="809994"/>
            <a:ext cx="46386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 для вычисления средней скорости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320CBB0-1A9C-48CB-96A7-A9470FFA1DFE}"/>
                  </a:ext>
                </a:extLst>
              </p:cNvPr>
              <p:cNvSpPr txBox="1"/>
              <p:nvPr/>
            </p:nvSpPr>
            <p:spPr>
              <a:xfrm>
                <a:off x="2132840" y="1285380"/>
                <a:ext cx="1264064" cy="62998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</a:rPr>
                            <m:t>ср</m:t>
                          </m:r>
                        </m:sub>
                      </m:sSub>
                      <m:r>
                        <a:rPr lang="ru-RU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ru-RU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𝑆</m:t>
                              </m:r>
                            </m:e>
                            <m:sub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</a:rPr>
                                <m:t>полн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b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</a:rPr>
                                <m:t>полн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320CBB0-1A9C-48CB-96A7-A9470FFA1D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32840" y="1285380"/>
                <a:ext cx="1264064" cy="629981"/>
              </a:xfrm>
              <a:prstGeom prst="rect">
                <a:avLst/>
              </a:prstGeom>
              <a:blipFill>
                <a:blip r:embed="rId4"/>
                <a:stretch>
                  <a:fillRect b="-97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9C69C85-FEA3-4DEC-9ED7-3FBD8AA46D1C}"/>
              </a:ext>
            </a:extLst>
          </p:cNvPr>
          <p:cNvSpPr/>
          <p:nvPr/>
        </p:nvSpPr>
        <p:spPr>
          <a:xfrm>
            <a:off x="261133" y="194751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висимость координаты тела от времени в случае равномерного прямолинейного движения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10C7B78-D892-4BC4-8212-EC33561A28F2}"/>
                  </a:ext>
                </a:extLst>
              </p:cNvPr>
              <p:cNvSpPr txBox="1"/>
              <p:nvPr/>
            </p:nvSpPr>
            <p:spPr>
              <a:xfrm>
                <a:off x="2065880" y="2597531"/>
                <a:ext cx="138954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sz="2000" b="0" i="0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𝜐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510C7B78-D892-4BC4-8212-EC33561A28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65880" y="2597531"/>
                <a:ext cx="1389548" cy="307777"/>
              </a:xfrm>
              <a:prstGeom prst="rect">
                <a:avLst/>
              </a:prstGeom>
              <a:blipFill>
                <a:blip r:embed="rId5"/>
                <a:stretch>
                  <a:fillRect l="-2193" r="-3070" b="-1568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1C1F654-B75D-40E0-A145-79F3778EC4D3}"/>
              </a:ext>
            </a:extLst>
          </p:cNvPr>
          <p:cNvSpPr/>
          <p:nvPr/>
        </p:nvSpPr>
        <p:spPr>
          <a:xfrm>
            <a:off x="261133" y="283828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висимость координаты тела от времени в случае равноускоренного прямолинейного движения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5095CC6-42D3-4745-A4EB-5E7E2793F660}"/>
                  </a:ext>
                </a:extLst>
              </p:cNvPr>
              <p:cNvSpPr txBox="1"/>
              <p:nvPr/>
            </p:nvSpPr>
            <p:spPr>
              <a:xfrm>
                <a:off x="1517525" y="3429000"/>
                <a:ext cx="2486258" cy="6155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sz="2000" b="0" i="0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sSup>
                            <m:sSup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p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5095CC6-42D3-4745-A4EB-5E7E2793F66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7525" y="3429000"/>
                <a:ext cx="2486258" cy="615553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5E6ECA6-7FF5-4C4E-9DC5-B94A91C67645}"/>
              </a:ext>
            </a:extLst>
          </p:cNvPr>
          <p:cNvSpPr/>
          <p:nvPr/>
        </p:nvSpPr>
        <p:spPr>
          <a:xfrm>
            <a:off x="261133" y="4008309"/>
            <a:ext cx="49990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ы для проекции перемещения, проекции скорости и проекции ускорения при равноускоренном прямолинейном движении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AC232C69-6E52-4BC9-91A1-C10B9CF9A85D}"/>
                  </a:ext>
                </a:extLst>
              </p:cNvPr>
              <p:cNvSpPr txBox="1"/>
              <p:nvPr/>
            </p:nvSpPr>
            <p:spPr>
              <a:xfrm>
                <a:off x="375698" y="4906582"/>
                <a:ext cx="2033698" cy="6155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sz="2000" b="0" i="0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  <m:sSup>
                            <m:sSup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p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AC232C69-6E52-4BC9-91A1-C10B9CF9A85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698" y="4906582"/>
                <a:ext cx="2033698" cy="61555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724F096-2B1F-40C8-BF04-D6B11C095800}"/>
                  </a:ext>
                </a:extLst>
              </p:cNvPr>
              <p:cNvSpPr txBox="1"/>
              <p:nvPr/>
            </p:nvSpPr>
            <p:spPr>
              <a:xfrm>
                <a:off x="496051" y="5656891"/>
                <a:ext cx="1792991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𝑡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724F096-2B1F-40C8-BF04-D6B11C09580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051" y="5656891"/>
                <a:ext cx="1792991" cy="307777"/>
              </a:xfrm>
              <a:prstGeom prst="rect">
                <a:avLst/>
              </a:prstGeom>
              <a:blipFill>
                <a:blip r:embed="rId8"/>
                <a:stretch>
                  <a:fillRect l="-1361" r="-2381" b="-16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493FA39-F349-4D36-89F8-C7B29F15FA47}"/>
              </a:ext>
            </a:extLst>
          </p:cNvPr>
          <p:cNvSpPr/>
          <p:nvPr/>
        </p:nvSpPr>
        <p:spPr>
          <a:xfrm>
            <a:off x="5834867" y="80966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ы, описывающие свободное падение тела по вертикали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70DD0B54-185D-48C7-AB70-C0143A95FD43}"/>
                  </a:ext>
                </a:extLst>
              </p:cNvPr>
              <p:cNvSpPr txBox="1"/>
              <p:nvPr/>
            </p:nvSpPr>
            <p:spPr>
              <a:xfrm>
                <a:off x="5980107" y="1434395"/>
                <a:ext cx="1640193" cy="3319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𝑔𝑡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70DD0B54-185D-48C7-AB70-C0143A95FD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80107" y="1434395"/>
                <a:ext cx="1640193" cy="331950"/>
              </a:xfrm>
              <a:prstGeom prst="rect">
                <a:avLst/>
              </a:prstGeom>
              <a:blipFill>
                <a:blip r:embed="rId9"/>
                <a:stretch>
                  <a:fillRect l="-1859" r="-4089" b="-2545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F0068B0-E407-45F9-9B4F-E01C177917C7}"/>
                  </a:ext>
                </a:extLst>
              </p:cNvPr>
              <p:cNvSpPr txBox="1"/>
              <p:nvPr/>
            </p:nvSpPr>
            <p:spPr>
              <a:xfrm>
                <a:off x="7765540" y="1282879"/>
                <a:ext cx="1879745" cy="6155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2000" b="0" i="0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en-US" sz="2000" b="0" i="0" smtClean="0">
                          <a:latin typeface="Cambria Math" panose="02040503050406030204" pitchFamily="18" charset="0"/>
                        </a:rPr>
                        <m:t> 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sSup>
                            <m:sSup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p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F0068B0-E407-45F9-9B4F-E01C177917C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65540" y="1282879"/>
                <a:ext cx="1879745" cy="61555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D094A0F9-B68E-4F75-9ADB-76F408A64286}"/>
              </a:ext>
            </a:extLst>
          </p:cNvPr>
          <p:cNvSpPr/>
          <p:nvPr/>
        </p:nvSpPr>
        <p:spPr>
          <a:xfrm>
            <a:off x="5834867" y="194852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ы, описывающие движение тела, брошенного вертикально вверх с поверхности Земли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37DD0186-69E4-45B5-AB99-D1E5855834F3}"/>
                  </a:ext>
                </a:extLst>
              </p:cNvPr>
              <p:cNvSpPr txBox="1"/>
              <p:nvPr/>
            </p:nvSpPr>
            <p:spPr>
              <a:xfrm>
                <a:off x="5980106" y="2753915"/>
                <a:ext cx="1640193" cy="3319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>
                        <a:rPr lang="ru-RU" sz="2000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𝑔𝑡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37DD0186-69E4-45B5-AB99-D1E5855834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80106" y="2753915"/>
                <a:ext cx="1640193" cy="331950"/>
              </a:xfrm>
              <a:prstGeom prst="rect">
                <a:avLst/>
              </a:prstGeom>
              <a:blipFill>
                <a:blip r:embed="rId11"/>
                <a:stretch>
                  <a:fillRect l="-1859" r="-4089" b="-259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0D7AB0D-D8AB-44CB-A77A-FCFE32AB66B0}"/>
                  </a:ext>
                </a:extLst>
              </p:cNvPr>
              <p:cNvSpPr txBox="1"/>
              <p:nvPr/>
            </p:nvSpPr>
            <p:spPr>
              <a:xfrm>
                <a:off x="7765539" y="2593850"/>
                <a:ext cx="1879745" cy="6155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2000" b="0" i="0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en-US" sz="2000" b="0" i="0" smtClean="0">
                          <a:latin typeface="Cambria Math" panose="02040503050406030204" pitchFamily="18" charset="0"/>
                        </a:rPr>
                        <m:t> 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𝑔</m:t>
                          </m:r>
                          <m:sSup>
                            <m:sSup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  <m:sup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0D7AB0D-D8AB-44CB-A77A-FCFE32AB66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65539" y="2593850"/>
                <a:ext cx="1879745" cy="615553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C5B75C17-04A9-4D56-B994-9E43807F2D2D}"/>
              </a:ext>
            </a:extLst>
          </p:cNvPr>
          <p:cNvSpPr/>
          <p:nvPr/>
        </p:nvSpPr>
        <p:spPr>
          <a:xfrm>
            <a:off x="5834867" y="3161451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 для вычисления скорости через радиус окружности и период обращения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B09CDC94-2588-4479-857E-702D51A3F08D}"/>
                  </a:ext>
                </a:extLst>
              </p:cNvPr>
              <p:cNvSpPr txBox="1"/>
              <p:nvPr/>
            </p:nvSpPr>
            <p:spPr>
              <a:xfrm>
                <a:off x="7760152" y="3775998"/>
                <a:ext cx="1048813" cy="57618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𝜐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  <m: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𝑅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B09CDC94-2588-4479-857E-702D51A3F08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60152" y="3775998"/>
                <a:ext cx="1048813" cy="576183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03318E1-8AA3-40D8-B5E1-AF0C9B61379F}"/>
              </a:ext>
            </a:extLst>
          </p:cNvPr>
          <p:cNvSpPr/>
          <p:nvPr/>
        </p:nvSpPr>
        <p:spPr>
          <a:xfrm>
            <a:off x="5834867" y="4374377"/>
            <a:ext cx="61874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 для вычисления центростремительного ускорения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6A46D961-9B11-4C08-9A42-54F1369030FD}"/>
                  </a:ext>
                </a:extLst>
              </p:cNvPr>
              <p:cNvSpPr txBox="1"/>
              <p:nvPr/>
            </p:nvSpPr>
            <p:spPr>
              <a:xfrm>
                <a:off x="7741524" y="4681971"/>
                <a:ext cx="1089722" cy="6155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</a:rPr>
                            <m:t>ц.с</m:t>
                          </m:r>
                        </m:sub>
                      </m:sSub>
                      <m:r>
                        <a:rPr lang="ru-RU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ru-RU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ru-RU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p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6A46D961-9B11-4C08-9A42-54F1369030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41524" y="4681971"/>
                <a:ext cx="1089722" cy="615553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F30AC43-5B44-4EB9-B003-0E8D5A96C60A}"/>
              </a:ext>
            </a:extLst>
          </p:cNvPr>
          <p:cNvSpPr/>
          <p:nvPr/>
        </p:nvSpPr>
        <p:spPr>
          <a:xfrm>
            <a:off x="5834867" y="5337469"/>
            <a:ext cx="55033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, связывающая период и частоту обращения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86FBAB1-DCFD-41EE-8C77-71A15EC8CE9B}"/>
                  </a:ext>
                </a:extLst>
              </p:cNvPr>
              <p:cNvSpPr txBox="1"/>
              <p:nvPr/>
            </p:nvSpPr>
            <p:spPr>
              <a:xfrm>
                <a:off x="7912597" y="5706801"/>
                <a:ext cx="743922" cy="57618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𝜈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86FBAB1-DCFD-41EE-8C77-71A15EC8CE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2597" y="5706801"/>
                <a:ext cx="743922" cy="576183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2161485D-4EEA-48EA-86F6-58777A011F76}"/>
              </a:ext>
            </a:extLst>
          </p:cNvPr>
          <p:cNvSpPr/>
          <p:nvPr/>
        </p:nvSpPr>
        <p:spPr>
          <a:xfrm>
            <a:off x="261133" y="6150645"/>
            <a:ext cx="108195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</a:t>
            </a:r>
          </a:p>
          <a:p>
            <a:pPr marL="228600" indent="-228600">
              <a:buAutoNum type="arabicPeriod"/>
            </a:pPr>
            <a:r>
              <a:rPr lang="ru-RU" sz="1050" dirty="0"/>
              <a:t>Кодификатор проверяемых требований к результатам освоения основной образовательной программы основного общего образования и элементов содержания  для проведения основного государственного экзамена  по ФИЗИКЕ </a:t>
            </a:r>
          </a:p>
          <a:p>
            <a:pPr marL="228600" indent="-228600">
              <a:buAutoNum type="arabicPeriod"/>
            </a:pPr>
            <a:r>
              <a:rPr lang="ru-RU" sz="1050" dirty="0"/>
              <a:t>ОГЭ. Физика. Справочник с комментариями ведущих экспертов, Автор: Степанова Г. Н., Лебедева И. Ю., Просвещение 2019</a:t>
            </a:r>
          </a:p>
        </p:txBody>
      </p:sp>
    </p:spTree>
    <p:extLst>
      <p:ext uri="{BB962C8B-B14F-4D97-AF65-F5344CB8AC3E}">
        <p14:creationId xmlns:p14="http://schemas.microsoft.com/office/powerpoint/2010/main" val="9180600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523585-4302-4F38-8AEA-E18C73380EC6}"/>
              </a:ext>
            </a:extLst>
          </p:cNvPr>
          <p:cNvSpPr txBox="1"/>
          <p:nvPr/>
        </p:nvSpPr>
        <p:spPr>
          <a:xfrm>
            <a:off x="1912034" y="0"/>
            <a:ext cx="77187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БЕСПЛАТНЫЙ ДОСТУП К УЧЕБНИКАМ</a:t>
            </a:r>
          </a:p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МЕДИАТЕКА «ПРОСВЕЩЕНИЕ»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70DB618-9C24-42EB-9DDC-0CDA8EE00D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4658" y="1323439"/>
            <a:ext cx="10322683" cy="5369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2515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523585-4302-4F38-8AEA-E18C73380EC6}"/>
              </a:ext>
            </a:extLst>
          </p:cNvPr>
          <p:cNvSpPr txBox="1"/>
          <p:nvPr/>
        </p:nvSpPr>
        <p:spPr>
          <a:xfrm>
            <a:off x="1912034" y="0"/>
            <a:ext cx="771878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БЕСПЛАТНЫЙ ДОСТУП К УЧЕБНИКАМ</a:t>
            </a:r>
          </a:p>
          <a:p>
            <a:pPr algn="ctr"/>
            <a:r>
              <a:rPr lang="ru-RU" sz="4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МЕДИАТЕКА «ПРОСВЕЩЕНИЕ»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09F3A85-7A19-4FAB-A787-30C5BECBF4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2927" y="1323439"/>
            <a:ext cx="9629409" cy="5452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4915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8C867B1-703F-4A4E-B28F-2C69254951EC}"/>
              </a:ext>
            </a:extLst>
          </p:cNvPr>
          <p:cNvSpPr txBox="1"/>
          <p:nvPr/>
        </p:nvSpPr>
        <p:spPr>
          <a:xfrm>
            <a:off x="98474" y="1014578"/>
            <a:ext cx="82858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адресной строке вводим адрес ресурса: 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https://cifra.school/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3F9D948-DEBA-401F-AFB0-3B99DAE456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281" y="1567701"/>
            <a:ext cx="10963275" cy="41338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E5EDB94-B581-4845-819D-1BBBDA1EFD8E}"/>
              </a:ext>
            </a:extLst>
          </p:cNvPr>
          <p:cNvSpPr txBox="1"/>
          <p:nvPr/>
        </p:nvSpPr>
        <p:spPr>
          <a:xfrm>
            <a:off x="2044095" y="65944"/>
            <a:ext cx="7234674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РЕСУРС ДЛЯ ДИСТАНЦИОННОГО ОБУЧЕНИЯ </a:t>
            </a:r>
          </a:p>
          <a:p>
            <a:pPr algn="ctr"/>
            <a:r>
              <a:rPr lang="ru-RU" sz="3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«МОЯ ШКОЛА В </a:t>
            </a:r>
            <a:r>
              <a:rPr lang="en-US" sz="3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ONLINE</a:t>
            </a:r>
            <a:r>
              <a:rPr lang="ru-RU" sz="3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34079366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F0D76BD-9399-488A-88E6-4CD50340266A}"/>
              </a:ext>
            </a:extLst>
          </p:cNvPr>
          <p:cNvGrpSpPr/>
          <p:nvPr/>
        </p:nvGrpSpPr>
        <p:grpSpPr>
          <a:xfrm>
            <a:off x="10895388" y="221562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9D6306A-A01D-46CF-9BCD-98CB5AC64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BBAE135-E3B0-4880-9932-61EEE3167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FBE841F8-F0B7-4080-9590-F9A25167A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FCC3977A-2964-45FC-B3DB-16ABA945A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9353CA79-A69B-434F-8F52-B97DDAF488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6130F6E7-7332-4B36-9A06-231302D93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12CFA201-C2FB-482D-97C6-D1364DA240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69B68036-B804-4010-AD98-FF190355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CA1FCC1E-C2C8-475A-A743-5CCC79E4B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23621DE0-E000-45E1-A4A9-4A6355E32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53AF3FE2-17F5-46C9-A1EA-29F4686BB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8C835BA9-C645-47FC-816E-4A0EF5B81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00444D6F-8F25-4382-8737-B845A7F5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32E6D41D-D4AD-42EA-BB6B-E9CF77B75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A096786-295C-415F-9CE3-1AFF32F65638}"/>
              </a:ext>
            </a:extLst>
          </p:cNvPr>
          <p:cNvSpPr txBox="1"/>
          <p:nvPr/>
        </p:nvSpPr>
        <p:spPr>
          <a:xfrm>
            <a:off x="98474" y="64040"/>
            <a:ext cx="41296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НАВИГАЦИЯ ПО РЕСУРСУ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8D4B693-F666-4039-BBE6-3EA9730837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219" y="769354"/>
            <a:ext cx="3345912" cy="9806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2E5A3D5-C044-4A80-B990-E10941B4C6DE}"/>
              </a:ext>
            </a:extLst>
          </p:cNvPr>
          <p:cNvSpPr txBox="1"/>
          <p:nvPr/>
        </p:nvSpPr>
        <p:spPr>
          <a:xfrm>
            <a:off x="4473526" y="1028870"/>
            <a:ext cx="56340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жимаем на кнопку «Выбрать предмет»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94952D4B-34FE-410B-93D0-4D8D1BCF6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8569" y="2618261"/>
            <a:ext cx="9782629" cy="395858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7524D8E-4368-4DA1-B1A1-E8C9CF329792}"/>
              </a:ext>
            </a:extLst>
          </p:cNvPr>
          <p:cNvSpPr txBox="1"/>
          <p:nvPr/>
        </p:nvSpPr>
        <p:spPr>
          <a:xfrm>
            <a:off x="3334699" y="2156596"/>
            <a:ext cx="57903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истема переводит на перечень предметов</a:t>
            </a:r>
          </a:p>
        </p:txBody>
      </p:sp>
    </p:spTree>
    <p:extLst>
      <p:ext uri="{BB962C8B-B14F-4D97-AF65-F5344CB8AC3E}">
        <p14:creationId xmlns:p14="http://schemas.microsoft.com/office/powerpoint/2010/main" val="8772022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F0D76BD-9399-488A-88E6-4CD50340266A}"/>
              </a:ext>
            </a:extLst>
          </p:cNvPr>
          <p:cNvGrpSpPr/>
          <p:nvPr/>
        </p:nvGrpSpPr>
        <p:grpSpPr>
          <a:xfrm>
            <a:off x="10895388" y="221562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9D6306A-A01D-46CF-9BCD-98CB5AC64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BBAE135-E3B0-4880-9932-61EEE3167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FBE841F8-F0B7-4080-9590-F9A25167A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FCC3977A-2964-45FC-B3DB-16ABA945A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9353CA79-A69B-434F-8F52-B97DDAF488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6130F6E7-7332-4B36-9A06-231302D93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12CFA201-C2FB-482D-97C6-D1364DA240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69B68036-B804-4010-AD98-FF190355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CA1FCC1E-C2C8-475A-A743-5CCC79E4B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23621DE0-E000-45E1-A4A9-4A6355E32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53AF3FE2-17F5-46C9-A1EA-29F4686BB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8C835BA9-C645-47FC-816E-4A0EF5B81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00444D6F-8F25-4382-8737-B845A7F5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32E6D41D-D4AD-42EA-BB6B-E9CF77B75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A096786-295C-415F-9CE3-1AFF32F65638}"/>
              </a:ext>
            </a:extLst>
          </p:cNvPr>
          <p:cNvSpPr txBox="1"/>
          <p:nvPr/>
        </p:nvSpPr>
        <p:spPr>
          <a:xfrm>
            <a:off x="98474" y="64040"/>
            <a:ext cx="41296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НАВИГАЦИЯ ПО РЕСУРСУ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E5A3D5-C044-4A80-B990-E10941B4C6DE}"/>
              </a:ext>
            </a:extLst>
          </p:cNvPr>
          <p:cNvSpPr txBox="1"/>
          <p:nvPr/>
        </p:nvSpPr>
        <p:spPr>
          <a:xfrm>
            <a:off x="742286" y="707971"/>
            <a:ext cx="102896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ля того чтобы выбрать предмет, нажимаем на иконку с названием предмет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4FBCB05-14F1-42A1-8533-50DD8F6E9E99}"/>
              </a:ext>
            </a:extLst>
          </p:cNvPr>
          <p:cNvSpPr txBox="1"/>
          <p:nvPr/>
        </p:nvSpPr>
        <p:spPr>
          <a:xfrm>
            <a:off x="1052915" y="2964436"/>
            <a:ext cx="96683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истема переносит на страницу предмета и предлагает выбрать класс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9D28C54-7AA1-4AFD-8BBC-1E95BC87438C}"/>
              </a:ext>
            </a:extLst>
          </p:cNvPr>
          <p:cNvSpPr txBox="1"/>
          <p:nvPr/>
        </p:nvSpPr>
        <p:spPr>
          <a:xfrm>
            <a:off x="560827" y="5706856"/>
            <a:ext cx="112935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Если вы ошиблись с выбором предмета, можно нажать на синюю стрелочку «Назад к выбору предмета» в левом верхнем углу страницы.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B7E09E1-8FCA-4ADE-8CA3-9910255723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2553" y="1129904"/>
            <a:ext cx="3527053" cy="1859416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465BDC93-55E3-497D-B221-1E71AE8B91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05691" y="3514411"/>
            <a:ext cx="7162800" cy="219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7096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F0D76BD-9399-488A-88E6-4CD50340266A}"/>
              </a:ext>
            </a:extLst>
          </p:cNvPr>
          <p:cNvGrpSpPr/>
          <p:nvPr/>
        </p:nvGrpSpPr>
        <p:grpSpPr>
          <a:xfrm>
            <a:off x="10895388" y="221562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9D6306A-A01D-46CF-9BCD-98CB5AC64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BBAE135-E3B0-4880-9932-61EEE3167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FBE841F8-F0B7-4080-9590-F9A25167A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FCC3977A-2964-45FC-B3DB-16ABA945A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9353CA79-A69B-434F-8F52-B97DDAF488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6130F6E7-7332-4B36-9A06-231302D93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12CFA201-C2FB-482D-97C6-D1364DA240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69B68036-B804-4010-AD98-FF190355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CA1FCC1E-C2C8-475A-A743-5CCC79E4B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23621DE0-E000-45E1-A4A9-4A6355E32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53AF3FE2-17F5-46C9-A1EA-29F4686BB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8C835BA9-C645-47FC-816E-4A0EF5B81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00444D6F-8F25-4382-8737-B845A7F5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32E6D41D-D4AD-42EA-BB6B-E9CF77B75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A096786-295C-415F-9CE3-1AFF32F65638}"/>
              </a:ext>
            </a:extLst>
          </p:cNvPr>
          <p:cNvSpPr txBox="1"/>
          <p:nvPr/>
        </p:nvSpPr>
        <p:spPr>
          <a:xfrm>
            <a:off x="98474" y="64040"/>
            <a:ext cx="41296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+mn-cs"/>
              </a:rPr>
              <a:t>НАВИГАЦИЯ ПО РЕСУРСУ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E5A3D5-C044-4A80-B990-E10941B4C6DE}"/>
              </a:ext>
            </a:extLst>
          </p:cNvPr>
          <p:cNvSpPr txBox="1"/>
          <p:nvPr/>
        </p:nvSpPr>
        <p:spPr>
          <a:xfrm>
            <a:off x="3859066" y="648815"/>
            <a:ext cx="38926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жимаем на нужный класс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EEFA5FD-6E5D-4485-B563-8982093655F4}"/>
              </a:ext>
            </a:extLst>
          </p:cNvPr>
          <p:cNvSpPr txBox="1"/>
          <p:nvPr/>
        </p:nvSpPr>
        <p:spPr>
          <a:xfrm>
            <a:off x="2054445" y="1997139"/>
            <a:ext cx="80831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падаем на страницу с выбором конспекта по нужной теме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F48745-8F36-458A-9C06-F1E8830788A4}"/>
              </a:ext>
            </a:extLst>
          </p:cNvPr>
          <p:cNvSpPr txBox="1"/>
          <p:nvPr/>
        </p:nvSpPr>
        <p:spPr>
          <a:xfrm>
            <a:off x="2516077" y="5455498"/>
            <a:ext cx="715984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братите внимание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онспекты уроков пополняются КАЖДУЮ неделю! 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91321F0-623A-4A0E-BA7B-36CF67CFE2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8561" y="1041072"/>
            <a:ext cx="3180445" cy="915128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F818BBC-6B0B-4153-8768-1D36598A63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942" y="2664192"/>
            <a:ext cx="11397557" cy="2453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12112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F0D76BD-9399-488A-88E6-4CD50340266A}"/>
              </a:ext>
            </a:extLst>
          </p:cNvPr>
          <p:cNvGrpSpPr/>
          <p:nvPr/>
        </p:nvGrpSpPr>
        <p:grpSpPr>
          <a:xfrm>
            <a:off x="10895388" y="221562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F9D6306A-A01D-46CF-9BCD-98CB5AC64B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5BBAE135-E3B0-4880-9932-61EEE3167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FBE841F8-F0B7-4080-9590-F9A25167A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FCC3977A-2964-45FC-B3DB-16ABA945A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9353CA79-A69B-434F-8F52-B97DDAF488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6130F6E7-7332-4B36-9A06-231302D93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12CFA201-C2FB-482D-97C6-D1364DA240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69B68036-B804-4010-AD98-FF190355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CA1FCC1E-C2C8-475A-A743-5CCC79E4BC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23621DE0-E000-45E1-A4A9-4A6355E32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53AF3FE2-17F5-46C9-A1EA-29F4686BB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8C835BA9-C645-47FC-816E-4A0EF5B81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00444D6F-8F25-4382-8737-B845A7F5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32E6D41D-D4AD-42EA-BB6B-E9CF77B752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75C1AB8C-2F6C-4BB2-BB50-08F1E74C760A}"/>
              </a:ext>
            </a:extLst>
          </p:cNvPr>
          <p:cNvSpPr txBox="1"/>
          <p:nvPr/>
        </p:nvSpPr>
        <p:spPr>
          <a:xfrm>
            <a:off x="117208" y="0"/>
            <a:ext cx="40623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ea typeface="+mn-ea"/>
                <a:cs typeface="Times New Roman" panose="02020603050405020304" pitchFamily="18" charset="0"/>
              </a:rPr>
              <a:t>РЕГИСТРАЦИЯ НА САЙТЕ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C32152D-E5E9-4FF3-8537-CF3FDFDCDD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584" y="766914"/>
            <a:ext cx="6615665" cy="24945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25ADB0C-9B8D-4892-AF97-31A10C2ED821}"/>
              </a:ext>
            </a:extLst>
          </p:cNvPr>
          <p:cNvSpPr txBox="1"/>
          <p:nvPr/>
        </p:nvSpPr>
        <p:spPr>
          <a:xfrm>
            <a:off x="3653977" y="3365445"/>
            <a:ext cx="54048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гистрация на ресурсе не требуется!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2F6076-E60D-4306-8971-877B45AC445F}"/>
              </a:ext>
            </a:extLst>
          </p:cNvPr>
          <p:cNvSpPr txBox="1"/>
          <p:nvPr/>
        </p:nvSpPr>
        <p:spPr>
          <a:xfrm>
            <a:off x="493253" y="3815199"/>
            <a:ext cx="112564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ы можете подписаться на рассылку с новостями ресурса (добавление уроков, видеоуроки и т.д.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ля этого нужно пролистать страницу ресурса вниз, ввести свой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-mail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в строку и нажать кнопку «Подписаться».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57BDB365-D5EE-4180-946D-3F60CFB5CF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0588" y="5482765"/>
            <a:ext cx="10310785" cy="10859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9050424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418114" y="0"/>
            <a:ext cx="524214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ВЕБИНАРЫ ИЗДАТЕЛЬСТВА</a:t>
            </a:r>
          </a:p>
          <a:p>
            <a:pPr algn="ctr"/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апрель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4187" y="1154162"/>
            <a:ext cx="1193884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0.04.2020 в 15:30 – «Решаем задания ОГЭ вместе. Задания на интерпретацию графиков»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3.04.2020 в 15:30 – «Решаем задания ОГЭ вместе! Магнитное поле»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4.04.2020 в 15:30 – «Решаем задания ОГЭ вместе! Магнитное поле» 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7.04.2020 в 9:30 – «Решаем задания ОГЭ вместе! Световые явления»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9.04.2020 в 9:30 – «Решаем задания ОГЭ вместе! Атомная физика»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0.04.2020 в 11:30 – «Решаем задания ОГЭ вместе! Задания второй части ОГЭ»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79795" y="3429000"/>
            <a:ext cx="91187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Больше информации на: </a:t>
            </a:r>
            <a:r>
              <a:rPr lang="en-US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https://www.prosv.ru/webinars</a:t>
            </a:r>
            <a:r>
              <a:rPr lang="ru-RU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979966" y="5096987"/>
            <a:ext cx="41184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ЕСЛИ ВАМ НУЖНА ПОМОЩЬ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673607" y="5620207"/>
            <a:ext cx="88158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ас интересует какая-либо проблемная тема? Мы готовы помочь!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едложите тему </a:t>
            </a:r>
            <a:r>
              <a:rPr lang="ru-RU" sz="2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а</a:t>
            </a: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Olitvinov@prosv.ru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806FC7-E417-4D37-A941-463E5620A438}"/>
              </a:ext>
            </a:extLst>
          </p:cNvPr>
          <p:cNvSpPr txBox="1"/>
          <p:nvPr/>
        </p:nvSpPr>
        <p:spPr>
          <a:xfrm>
            <a:off x="4684541" y="3952220"/>
            <a:ext cx="23102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ДЛЯ УЧИТЕЛЕЙ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3402BE9-B743-487D-BCF6-2DCBE41F58E5}"/>
              </a:ext>
            </a:extLst>
          </p:cNvPr>
          <p:cNvSpPr/>
          <p:nvPr/>
        </p:nvSpPr>
        <p:spPr>
          <a:xfrm>
            <a:off x="84186" y="4439418"/>
            <a:ext cx="108323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04.2020 в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30 – «Лабораторный практикум в дистанционном формате»</a:t>
            </a:r>
          </a:p>
        </p:txBody>
      </p:sp>
    </p:spTree>
    <p:extLst>
      <p:ext uri="{BB962C8B-B14F-4D97-AF65-F5344CB8AC3E}">
        <p14:creationId xmlns:p14="http://schemas.microsoft.com/office/powerpoint/2010/main" val="33610704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9075" y="0"/>
            <a:ext cx="542925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0" y="996470"/>
            <a:ext cx="5869079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ГК «ПРОСВЕЩЕНИЕ» 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ДРЕС: 127473, Москва, ул.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раснопролетарская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д.16, стр.3, подъезд 8, бизнес-центр «Новослободский»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ЕЛЕФОН: (495) 789-30-40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ФАКС: (495) 789-30-41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-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AIL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hlinkClick r:id="rId3"/>
              </a:rPr>
              <a:t>prosv@prosv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АЙТ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hlinkClick r:id="rId4"/>
              </a:rPr>
              <a:t>http://www.prosv.ru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         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hlinkClick r:id="rId5"/>
              </a:rPr>
              <a:t>http://www.spheres.ru/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870108" y="2973934"/>
            <a:ext cx="5292082" cy="1200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ПАСИБО  ЗА ВНИМАНИЕ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164286" y="5202253"/>
            <a:ext cx="3885569" cy="1177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ЕЛЕФОН: 8(495)789-30-40 доб.41-03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What’s up, Telegram: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 (963)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976-10-01  </a:t>
            </a:r>
            <a:b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-MAIL  OLitvinov@prosv.ru   </a:t>
            </a:r>
          </a:p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1019"/>
            <a:ext cx="12192000" cy="957291"/>
          </a:xfrm>
          <a:prstGeom prst="rect">
            <a:avLst/>
          </a:prstGeom>
          <a:pattFill prst="dkUpDiag">
            <a:fgClr>
              <a:srgbClr val="DBE3E5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089" tIns="30045" rIns="60089" bIns="30045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2" descr="C:\Users\MDorkina\Desktop\prosv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5956" y="9262"/>
            <a:ext cx="1080088" cy="968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Группа 8"/>
          <p:cNvGrpSpPr/>
          <p:nvPr/>
        </p:nvGrpSpPr>
        <p:grpSpPr>
          <a:xfrm>
            <a:off x="0" y="6341339"/>
            <a:ext cx="12192000" cy="484465"/>
            <a:chOff x="0" y="6341339"/>
            <a:chExt cx="9144000" cy="484465"/>
          </a:xfrm>
        </p:grpSpPr>
        <p:pic>
          <p:nvPicPr>
            <p:cNvPr id="10" name="image1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6341339"/>
              <a:ext cx="9144000" cy="484465"/>
            </a:xfrm>
            <a:prstGeom prst="rect">
              <a:avLst/>
            </a:prstGeom>
            <a:solidFill>
              <a:schemeClr val="bg1"/>
            </a:solidFill>
            <a:ln w="12700">
              <a:miter lim="400000"/>
            </a:ln>
          </p:spPr>
        </p:pic>
        <p:pic>
          <p:nvPicPr>
            <p:cNvPr id="11" name="image2.pn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330239" y="6417658"/>
              <a:ext cx="508962" cy="408146"/>
            </a:xfrm>
            <a:prstGeom prst="rect">
              <a:avLst/>
            </a:prstGeom>
            <a:ln w="12700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38791727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4E02EE-FF8B-4EA3-A3AE-CD2601DC3639}"/>
              </a:ext>
            </a:extLst>
          </p:cNvPr>
          <p:cNvSpPr txBox="1"/>
          <p:nvPr/>
        </p:nvSpPr>
        <p:spPr>
          <a:xfrm>
            <a:off x="2580454" y="0"/>
            <a:ext cx="668003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ДИНАМИКА. ОСНОВНЫЕ ФОРМУЛ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2717EE8-9032-4C92-A062-D33325BA9EE1}"/>
              </a:ext>
            </a:extLst>
          </p:cNvPr>
          <p:cNvSpPr/>
          <p:nvPr/>
        </p:nvSpPr>
        <p:spPr>
          <a:xfrm>
            <a:off x="261133" y="6150645"/>
            <a:ext cx="108195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</a:t>
            </a:r>
          </a:p>
          <a:p>
            <a:pPr marL="228600" indent="-228600">
              <a:buAutoNum type="arabicPeriod"/>
            </a:pPr>
            <a:r>
              <a:rPr lang="ru-RU" sz="1050" dirty="0"/>
              <a:t>Кодификатор проверяемых требований к результатам освоения основной образовательной программы основного общего образования и элементов содержания  для проведения основного государственного экзамена  по ФИЗИКЕ </a:t>
            </a:r>
          </a:p>
          <a:p>
            <a:pPr marL="228600" indent="-228600">
              <a:buAutoNum type="arabicPeriod"/>
            </a:pPr>
            <a:r>
              <a:rPr lang="ru-RU" sz="1050" dirty="0"/>
              <a:t>ОГЭ. Физика. Справочник с комментариями ведущих экспертов, Автор: Степанова Г. Н., Лебедева И. Ю., Просвещение 2019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4EEB139-1C01-4688-8969-6969D9CF29BA}"/>
              </a:ext>
            </a:extLst>
          </p:cNvPr>
          <p:cNvSpPr/>
          <p:nvPr/>
        </p:nvSpPr>
        <p:spPr>
          <a:xfrm>
            <a:off x="261133" y="64633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ила – векторная физическая величина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AB885CF-885C-4292-A420-18F7A27867F8}"/>
              </a:ext>
            </a:extLst>
          </p:cNvPr>
          <p:cNvSpPr/>
          <p:nvPr/>
        </p:nvSpPr>
        <p:spPr>
          <a:xfrm>
            <a:off x="261133" y="1015663"/>
            <a:ext cx="24946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торой закон Ньютона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9FA1A66-60BB-45E0-BA2A-7BDEDCD64B42}"/>
                  </a:ext>
                </a:extLst>
              </p:cNvPr>
              <p:cNvSpPr txBox="1"/>
              <p:nvPr/>
            </p:nvSpPr>
            <p:spPr>
              <a:xfrm>
                <a:off x="1854707" y="1379298"/>
                <a:ext cx="927754" cy="34515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𝑚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ac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9FA1A66-60BB-45E0-BA2A-7BDEDCD64B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4707" y="1379298"/>
                <a:ext cx="927754" cy="345159"/>
              </a:xfrm>
              <a:prstGeom prst="rect">
                <a:avLst/>
              </a:prstGeom>
              <a:blipFill>
                <a:blip r:embed="rId4"/>
                <a:stretch>
                  <a:fillRect l="-5921" t="-36842" r="-41447" b="-526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70089F2-81D6-4512-8063-B3C4752A1735}"/>
              </a:ext>
            </a:extLst>
          </p:cNvPr>
          <p:cNvSpPr/>
          <p:nvPr/>
        </p:nvSpPr>
        <p:spPr>
          <a:xfrm>
            <a:off x="261133" y="1748630"/>
            <a:ext cx="24776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Третий закон Ньютона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D8FF23F-5FBC-4256-A36D-6BDC11BD5DA1}"/>
                  </a:ext>
                </a:extLst>
              </p:cNvPr>
              <p:cNvSpPr txBox="1"/>
              <p:nvPr/>
            </p:nvSpPr>
            <p:spPr>
              <a:xfrm>
                <a:off x="1590564" y="2110494"/>
                <a:ext cx="1456040" cy="33284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|"/>
                          <m:endChr m:val="|"/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acc>
                            <m:accPr>
                              <m:chr m:val="⃗"/>
                              <m:ctrlPr>
                                <a:rPr lang="ru-RU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sSub>
                                <m:sSubPr>
                                  <m:ctrlPr>
                                    <a:rPr lang="ru-RU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2</m:t>
                                  </m:r>
                                </m:sub>
                              </m:sSub>
                            </m:e>
                          </m:acc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−</m:t>
                      </m:r>
                      <m:d>
                        <m:dPr>
                          <m:begChr m:val="|"/>
                          <m:endChr m:val="|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acc>
                            <m:accPr>
                              <m:chr m:val="⃗"/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𝐹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21</m:t>
                                  </m:r>
                                </m:sub>
                              </m:sSub>
                            </m:e>
                          </m:acc>
                        </m:e>
                      </m:d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D8FF23F-5FBC-4256-A36D-6BDC11BD5DA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0564" y="2110494"/>
                <a:ext cx="1456040" cy="332848"/>
              </a:xfrm>
              <a:prstGeom prst="rect">
                <a:avLst/>
              </a:prstGeom>
              <a:blipFill>
                <a:blip r:embed="rId5"/>
                <a:stretch>
                  <a:fillRect b="-909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E95D7D2-EB9E-40E0-93F2-4971ADE071D0}"/>
              </a:ext>
            </a:extLst>
          </p:cNvPr>
          <p:cNvSpPr/>
          <p:nvPr/>
        </p:nvSpPr>
        <p:spPr>
          <a:xfrm>
            <a:off x="261133" y="2478006"/>
            <a:ext cx="1654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ила тяжести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17A76B1-5340-479A-9F81-DCD91079DC8A}"/>
                  </a:ext>
                </a:extLst>
              </p:cNvPr>
              <p:cNvSpPr txBox="1"/>
              <p:nvPr/>
            </p:nvSpPr>
            <p:spPr>
              <a:xfrm>
                <a:off x="1590564" y="2858372"/>
                <a:ext cx="1219436" cy="34515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ru-RU" sz="20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</a:rPr>
                                <m:t>тяж</m:t>
                              </m:r>
                            </m:sub>
                          </m:sSub>
                        </m:e>
                      </m:acc>
                      <m:r>
                        <a:rPr lang="ru-RU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𝑚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</m:ac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17A76B1-5340-479A-9F81-DCD91079DC8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0564" y="2858372"/>
                <a:ext cx="1219436" cy="345159"/>
              </a:xfrm>
              <a:prstGeom prst="rect">
                <a:avLst/>
              </a:prstGeom>
              <a:blipFill>
                <a:blip r:embed="rId6"/>
                <a:stretch>
                  <a:fillRect l="-4500" t="-24561" r="-31000" b="-2105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733A199-2198-45D8-9335-9CFFA3DA55D5}"/>
              </a:ext>
            </a:extLst>
          </p:cNvPr>
          <p:cNvSpPr/>
          <p:nvPr/>
        </p:nvSpPr>
        <p:spPr>
          <a:xfrm>
            <a:off x="261133" y="3244334"/>
            <a:ext cx="3141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Закон всемирного тяготения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2D39D9E-6A45-4944-9259-847A89202AB3}"/>
                  </a:ext>
                </a:extLst>
              </p:cNvPr>
              <p:cNvSpPr txBox="1"/>
              <p:nvPr/>
            </p:nvSpPr>
            <p:spPr>
              <a:xfrm>
                <a:off x="1135439" y="3684400"/>
                <a:ext cx="1438535" cy="5250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𝐹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𝐺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num>
                        <m:den>
                          <m:sSup>
                            <m:sSup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p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2D39D9E-6A45-4944-9259-847A89202AB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5439" y="3684400"/>
                <a:ext cx="1438535" cy="52508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76D5E94-1B64-4251-8FD4-FFB3DCF7D962}"/>
                  </a:ext>
                </a:extLst>
              </p:cNvPr>
              <p:cNvSpPr txBox="1"/>
              <p:nvPr/>
            </p:nvSpPr>
            <p:spPr>
              <a:xfrm>
                <a:off x="970670" y="4088622"/>
                <a:ext cx="2194896" cy="57086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𝐺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6,7∙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11</m:t>
                          </m:r>
                        </m:sup>
                      </m:sSup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Н∙</m:t>
                          </m:r>
                          <m:sSup>
                            <m:sSupPr>
                              <m:ctrlPr>
                                <a:rPr lang="ru-R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м</m:t>
                              </m:r>
                            </m:e>
                            <m:sup>
                              <m:r>
                                <a:rPr lang="ru-R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кг</m:t>
                              </m:r>
                            </m:e>
                            <m:sup>
                              <m:r>
                                <a:rPr lang="ru-RU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76D5E94-1B64-4251-8FD4-FFB3DCF7D9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670" y="4088622"/>
                <a:ext cx="2194896" cy="57086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FE478A4-28C8-40D3-9E41-B9CB847329A0}"/>
              </a:ext>
            </a:extLst>
          </p:cNvPr>
          <p:cNvSpPr/>
          <p:nvPr/>
        </p:nvSpPr>
        <p:spPr>
          <a:xfrm>
            <a:off x="261133" y="4653210"/>
            <a:ext cx="41732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кон упругой деформации (закон Гука)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5A7D76D-452F-4C7A-9EB8-C03723A56CD6}"/>
                  </a:ext>
                </a:extLst>
              </p:cNvPr>
              <p:cNvSpPr txBox="1"/>
              <p:nvPr/>
            </p:nvSpPr>
            <p:spPr>
              <a:xfrm>
                <a:off x="1590564" y="5043829"/>
                <a:ext cx="1135567" cy="3025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упр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𝑘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r>
                        <a:rPr lang="en-US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5A7D76D-452F-4C7A-9EB8-C03723A56CD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90564" y="5043829"/>
                <a:ext cx="1135567" cy="302519"/>
              </a:xfrm>
              <a:prstGeom prst="rect">
                <a:avLst/>
              </a:prstGeom>
              <a:blipFill>
                <a:blip r:embed="rId9"/>
                <a:stretch>
                  <a:fillRect l="-4839" r="-2151" b="-20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TextBox 16">
            <a:extLst>
              <a:ext uri="{FF2B5EF4-FFF2-40B4-BE49-F238E27FC236}">
                <a16:creationId xmlns:a16="http://schemas.microsoft.com/office/drawing/2014/main" id="{3F8291C5-0486-436A-91FB-27CBD9E0DDF4}"/>
              </a:ext>
            </a:extLst>
          </p:cNvPr>
          <p:cNvSpPr txBox="1"/>
          <p:nvPr/>
        </p:nvSpPr>
        <p:spPr>
          <a:xfrm>
            <a:off x="261133" y="5362004"/>
            <a:ext cx="44188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k – 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оэффициент упругости (жёсткости) </a:t>
            </a:r>
          </a:p>
          <a:p>
            <a:r>
              <a:rPr lang="el-GR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Δ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x 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– величина деформации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3F8F946D-9239-461E-B870-7B40319A05A2}"/>
              </a:ext>
            </a:extLst>
          </p:cNvPr>
          <p:cNvSpPr/>
          <p:nvPr/>
        </p:nvSpPr>
        <p:spPr>
          <a:xfrm>
            <a:off x="5271409" y="646331"/>
            <a:ext cx="61114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 для вычисления модуля силы трения скольжения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67D135F7-3422-4249-B72D-6C1AE2C1CB07}"/>
                  </a:ext>
                </a:extLst>
              </p:cNvPr>
              <p:cNvSpPr txBox="1"/>
              <p:nvPr/>
            </p:nvSpPr>
            <p:spPr>
              <a:xfrm>
                <a:off x="7776325" y="1044013"/>
                <a:ext cx="1101584" cy="33528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</a:rPr>
                            <m:t>тр</m:t>
                          </m:r>
                        </m:sub>
                      </m:sSub>
                      <m:r>
                        <a:rPr lang="ru-RU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𝑁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67D135F7-3422-4249-B72D-6C1AE2C1CB0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76325" y="1044013"/>
                <a:ext cx="1101584" cy="335285"/>
              </a:xfrm>
              <a:prstGeom prst="rect">
                <a:avLst/>
              </a:prstGeom>
              <a:blipFill>
                <a:blip r:embed="rId10"/>
                <a:stretch>
                  <a:fillRect l="-5556" r="-5000" b="-2363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>
            <a:extLst>
              <a:ext uri="{FF2B5EF4-FFF2-40B4-BE49-F238E27FC236}">
                <a16:creationId xmlns:a16="http://schemas.microsoft.com/office/drawing/2014/main" id="{19064175-7195-4938-AA27-8AC669B006CA}"/>
              </a:ext>
            </a:extLst>
          </p:cNvPr>
          <p:cNvSpPr txBox="1"/>
          <p:nvPr/>
        </p:nvSpPr>
        <p:spPr>
          <a:xfrm>
            <a:off x="6989443" y="1361182"/>
            <a:ext cx="26753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μ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оэффициент трения</a:t>
            </a:r>
          </a:p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 – 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ила реакции опоры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BD2780FD-0BC5-49E9-A83B-74116D06EE2E}"/>
              </a:ext>
            </a:extLst>
          </p:cNvPr>
          <p:cNvSpPr/>
          <p:nvPr/>
        </p:nvSpPr>
        <p:spPr>
          <a:xfrm>
            <a:off x="6657557" y="2010500"/>
            <a:ext cx="34646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скусственные спутники Земли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66F53BBB-9CF0-4240-95C4-0A943D64334A}"/>
                  </a:ext>
                </a:extLst>
              </p:cNvPr>
              <p:cNvSpPr txBox="1"/>
              <p:nvPr/>
            </p:nvSpPr>
            <p:spPr>
              <a:xfrm>
                <a:off x="6408450" y="2440918"/>
                <a:ext cx="1367875" cy="59003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𝐺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Земли</m:t>
                              </m:r>
                            </m:sub>
                          </m:sSub>
                        </m:num>
                        <m:den>
                          <m:sSubSup>
                            <m:sSub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Земли</m:t>
                              </m:r>
                            </m:sub>
                            <m:sup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66F53BBB-9CF0-4240-95C4-0A943D6433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08450" y="2440918"/>
                <a:ext cx="1367875" cy="590033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E0DBD12-F7BC-4671-951B-32D8164BC167}"/>
                  </a:ext>
                </a:extLst>
              </p:cNvPr>
              <p:cNvSpPr txBox="1"/>
              <p:nvPr/>
            </p:nvSpPr>
            <p:spPr>
              <a:xfrm>
                <a:off x="8877909" y="2420347"/>
                <a:ext cx="2093073" cy="58458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𝑔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𝐺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𝑀</m:t>
                              </m:r>
                            </m:e>
                            <m:sub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Земли</m:t>
                              </m:r>
                            </m:sub>
                          </m:sSub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sSub>
                                <m:sSubPr>
                                  <m:ctrlPr>
                                    <a:rPr lang="ru-RU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ru-RU" b="0" i="1" smtClean="0">
                                      <a:latin typeface="Cambria Math" panose="02040503050406030204" pitchFamily="18" charset="0"/>
                                    </a:rPr>
                                    <m:t>Земли</m:t>
                                  </m:r>
                                </m:sub>
                              </m:sSub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E0DBD12-F7BC-4671-951B-32D8164BC1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77909" y="2420347"/>
                <a:ext cx="2093073" cy="58458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TextBox 23">
            <a:extLst>
              <a:ext uri="{FF2B5EF4-FFF2-40B4-BE49-F238E27FC236}">
                <a16:creationId xmlns:a16="http://schemas.microsoft.com/office/drawing/2014/main" id="{2C31F263-2A31-40BB-8A8C-0234F2A7E5DD}"/>
              </a:ext>
            </a:extLst>
          </p:cNvPr>
          <p:cNvSpPr txBox="1"/>
          <p:nvPr/>
        </p:nvSpPr>
        <p:spPr>
          <a:xfrm>
            <a:off x="6096000" y="3029156"/>
            <a:ext cx="24541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 поверхности Земли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10ECB7F-16C9-445A-8004-B408C59C17B8}"/>
              </a:ext>
            </a:extLst>
          </p:cNvPr>
          <p:cNvSpPr txBox="1"/>
          <p:nvPr/>
        </p:nvSpPr>
        <p:spPr>
          <a:xfrm>
            <a:off x="8756433" y="3029156"/>
            <a:ext cx="273145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 высоте </a:t>
            </a:r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 </a:t>
            </a:r>
            <a:endParaRPr lang="ru-RU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д поверхностью Земли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DC29802-FEC4-44EA-8EC5-D09AFF0FD4F7}"/>
              </a:ext>
            </a:extLst>
          </p:cNvPr>
          <p:cNvSpPr txBox="1"/>
          <p:nvPr/>
        </p:nvSpPr>
        <p:spPr>
          <a:xfrm>
            <a:off x="5271409" y="3824394"/>
            <a:ext cx="4221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ервая космическая скорость для Земли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9F9AB2D4-FEFB-4198-890F-8F9731486AEB}"/>
                  </a:ext>
                </a:extLst>
              </p:cNvPr>
              <p:cNvSpPr txBox="1"/>
              <p:nvPr/>
            </p:nvSpPr>
            <p:spPr>
              <a:xfrm>
                <a:off x="6780995" y="4159546"/>
                <a:ext cx="3538276" cy="8183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1к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= </m:t>
                      </m:r>
                      <m:rad>
                        <m:radPr>
                          <m:degHide m:val="on"/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sSub>
                            <m:sSubPr>
                              <m:ctrlP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𝑔</m:t>
                              </m:r>
                            </m:e>
                            <m:sub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Земли</m:t>
                              </m:r>
                            </m:sub>
                          </m:sSub>
                          <m:sSub>
                            <m:sSubPr>
                              <m:ctrlP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𝑅</m:t>
                              </m:r>
                            </m:e>
                            <m:sub>
                              <m:r>
                                <a:rPr lang="ru-RU" b="0" i="1" smtClean="0">
                                  <a:latin typeface="Cambria Math" panose="02040503050406030204" pitchFamily="18" charset="0"/>
                                </a:rPr>
                                <m:t>Земли</m:t>
                              </m:r>
                            </m:sub>
                          </m:sSub>
                        </m:e>
                      </m:rad>
                      <m:r>
                        <a:rPr lang="ru-RU" b="0" i="0" smtClean="0">
                          <a:latin typeface="Cambria Math" panose="02040503050406030204" pitchFamily="18" charset="0"/>
                        </a:rPr>
                        <m:t>= </m:t>
                      </m:r>
                      <m:rad>
                        <m:radPr>
                          <m:degHide m:val="on"/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𝑀</m:t>
                                  </m:r>
                                </m:e>
                                <m:sub>
                                  <m:r>
                                    <a:rPr lang="ru-RU" b="0" i="1" smtClean="0">
                                      <a:latin typeface="Cambria Math" panose="02040503050406030204" pitchFamily="18" charset="0"/>
                                    </a:rPr>
                                    <m:t>Земли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𝑅</m:t>
                                  </m:r>
                                </m:e>
                                <m:sub>
                                  <m:r>
                                    <a:rPr lang="ru-RU" b="0" i="1" smtClean="0">
                                      <a:latin typeface="Cambria Math" panose="02040503050406030204" pitchFamily="18" charset="0"/>
                                    </a:rPr>
                                    <m:t>Земли</m:t>
                                  </m:r>
                                </m:sub>
                              </m:sSub>
                            </m:den>
                          </m:f>
                        </m:e>
                      </m:rad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9F9AB2D4-FEFB-4198-890F-8F9731486A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80995" y="4159546"/>
                <a:ext cx="3538276" cy="818366"/>
              </a:xfrm>
              <a:prstGeom prst="rect">
                <a:avLst/>
              </a:prstGeom>
              <a:blipFill>
                <a:blip r:embed="rId13"/>
                <a:stretch>
                  <a:fillRect b="-74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109499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4E02EE-FF8B-4EA3-A3AE-CD2601DC3639}"/>
              </a:ext>
            </a:extLst>
          </p:cNvPr>
          <p:cNvSpPr txBox="1"/>
          <p:nvPr/>
        </p:nvSpPr>
        <p:spPr>
          <a:xfrm>
            <a:off x="1553513" y="0"/>
            <a:ext cx="86757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ЗАКОНЫ СОХРАНЕНИЯ. ОСНОВНЫЕ ФОРМУЛ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BA24B23-96DE-4E15-82F8-252E12AD4121}"/>
              </a:ext>
            </a:extLst>
          </p:cNvPr>
          <p:cNvSpPr/>
          <p:nvPr/>
        </p:nvSpPr>
        <p:spPr>
          <a:xfrm>
            <a:off x="261133" y="6150645"/>
            <a:ext cx="108195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</a:t>
            </a:r>
          </a:p>
          <a:p>
            <a:pPr marL="228600" indent="-228600">
              <a:buAutoNum type="arabicPeriod"/>
            </a:pPr>
            <a:r>
              <a:rPr lang="ru-RU" sz="1050" dirty="0"/>
              <a:t>Кодификатор проверяемых требований к результатам освоения основной образовательной программы основного общего образования и элементов содержания  для проведения основного государственного экзамена  по ФИЗИКЕ </a:t>
            </a:r>
          </a:p>
          <a:p>
            <a:pPr marL="228600" indent="-228600">
              <a:buAutoNum type="arabicPeriod"/>
            </a:pPr>
            <a:r>
              <a:rPr lang="ru-RU" sz="1050" dirty="0"/>
              <a:t>ОГЭ. Физика. Справочник с комментариями ведущих экспертов, Автор: Степанова Г. Н., Лебедева И. Ю., Просвещение 2019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232A89E-7895-488A-A2F9-DCBFB58B9FE9}"/>
              </a:ext>
            </a:extLst>
          </p:cNvPr>
          <p:cNvSpPr/>
          <p:nvPr/>
        </p:nvSpPr>
        <p:spPr>
          <a:xfrm>
            <a:off x="261133" y="646331"/>
            <a:ext cx="49128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мпульс тела – векторная физическая величин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E842F5F-A519-4C14-AB76-0EFF86796269}"/>
                  </a:ext>
                </a:extLst>
              </p:cNvPr>
              <p:cNvSpPr txBox="1"/>
              <p:nvPr/>
            </p:nvSpPr>
            <p:spPr>
              <a:xfrm>
                <a:off x="2271683" y="1010625"/>
                <a:ext cx="891719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𝑚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e>
                      </m:ac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E842F5F-A519-4C14-AB76-0EFF86796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71683" y="1010625"/>
                <a:ext cx="891719" cy="307777"/>
              </a:xfrm>
              <a:prstGeom prst="rect">
                <a:avLst/>
              </a:prstGeom>
              <a:blipFill>
                <a:blip r:embed="rId4"/>
                <a:stretch>
                  <a:fillRect l="-6849" t="-40000" r="-43151" b="-26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9BC8F77-89FB-46EC-A0CC-0B85FC6DB93D}"/>
              </a:ext>
            </a:extLst>
          </p:cNvPr>
          <p:cNvSpPr/>
          <p:nvPr/>
        </p:nvSpPr>
        <p:spPr>
          <a:xfrm>
            <a:off x="261132" y="1318402"/>
            <a:ext cx="23818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мпульс системы тел: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2F991994-CCC2-4B71-853B-CC88928348A1}"/>
                  </a:ext>
                </a:extLst>
              </p:cNvPr>
              <p:cNvSpPr txBox="1"/>
              <p:nvPr/>
            </p:nvSpPr>
            <p:spPr>
              <a:xfrm>
                <a:off x="1452067" y="1682696"/>
                <a:ext cx="2601866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…+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2F991994-CCC2-4B71-853B-CC88928348A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52067" y="1682696"/>
                <a:ext cx="2601866" cy="307777"/>
              </a:xfrm>
              <a:prstGeom prst="rect">
                <a:avLst/>
              </a:prstGeom>
              <a:blipFill>
                <a:blip r:embed="rId5"/>
                <a:stretch>
                  <a:fillRect l="-1874" t="-37255" b="-2352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904DC13-9B14-4A98-BDA5-0F5DA43E41CF}"/>
              </a:ext>
            </a:extLst>
          </p:cNvPr>
          <p:cNvSpPr/>
          <p:nvPr/>
        </p:nvSpPr>
        <p:spPr>
          <a:xfrm>
            <a:off x="261132" y="2021354"/>
            <a:ext cx="5771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мпульс силы (другая формулировка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II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кона Ньютона:</a:t>
            </a:r>
            <a:endParaRPr lang="ru-RU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CD58CE1-BDDE-4012-97D5-56E73A2DFAEE}"/>
                  </a:ext>
                </a:extLst>
              </p:cNvPr>
              <p:cNvSpPr txBox="1"/>
              <p:nvPr/>
            </p:nvSpPr>
            <p:spPr>
              <a:xfrm>
                <a:off x="912144" y="2421567"/>
                <a:ext cx="1359539" cy="34515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Δ</m:t>
                      </m:r>
                      <m:acc>
                        <m:accPr>
                          <m:chr m:val="⃗"/>
                          <m:ctrlPr>
                            <a:rPr lang="el-GR" sz="2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</m:acc>
                      <m:r>
                        <a:rPr lang="en-US" sz="2000" b="0" i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𝐹</m:t>
                          </m:r>
                        </m:e>
                      </m:acc>
                      <m:r>
                        <a:rPr lang="el-GR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∆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CD58CE1-BDDE-4012-97D5-56E73A2DFA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2144" y="2421567"/>
                <a:ext cx="1359539" cy="345159"/>
              </a:xfrm>
              <a:prstGeom prst="rect">
                <a:avLst/>
              </a:prstGeom>
              <a:blipFill>
                <a:blip r:embed="rId6"/>
                <a:stretch>
                  <a:fillRect l="-4036" t="-36842" r="-3139" b="-2105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F45AD70-A722-4D08-AF43-1651FA3C1E4F}"/>
                  </a:ext>
                </a:extLst>
              </p:cNvPr>
              <p:cNvSpPr txBox="1"/>
              <p:nvPr/>
            </p:nvSpPr>
            <p:spPr>
              <a:xfrm>
                <a:off x="2912012" y="2324093"/>
                <a:ext cx="913840" cy="60708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  <m:acc>
                            <m:accPr>
                              <m:chr m:val="⃗"/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𝑝</m:t>
                              </m:r>
                            </m:e>
                          </m:acc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F45AD70-A722-4D08-AF43-1651FA3C1E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2012" y="2324093"/>
                <a:ext cx="913840" cy="607089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E9F1E5A-2F5B-4624-B7F8-4E7B7578E68F}"/>
              </a:ext>
            </a:extLst>
          </p:cNvPr>
          <p:cNvSpPr/>
          <p:nvPr/>
        </p:nvSpPr>
        <p:spPr>
          <a:xfrm>
            <a:off x="264082" y="2914879"/>
            <a:ext cx="57986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кон сохранения импульса для замкнутой системы тел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B97E8046-FD51-460E-9652-03202E187D61}"/>
                  </a:ext>
                </a:extLst>
              </p:cNvPr>
              <p:cNvSpPr txBox="1"/>
              <p:nvPr/>
            </p:nvSpPr>
            <p:spPr>
              <a:xfrm>
                <a:off x="487957" y="3346516"/>
                <a:ext cx="5317610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…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…=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𝑐𝑜𝑛𝑠𝑡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B97E8046-FD51-460E-9652-03202E187D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957" y="3346516"/>
                <a:ext cx="5317610" cy="307777"/>
              </a:xfrm>
              <a:prstGeom prst="rect">
                <a:avLst/>
              </a:prstGeom>
              <a:blipFill>
                <a:blip r:embed="rId8"/>
                <a:stretch>
                  <a:fillRect l="-688" t="-40000" r="-344" b="-26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05880C0-9086-4646-896C-B60247491199}"/>
              </a:ext>
            </a:extLst>
          </p:cNvPr>
          <p:cNvSpPr/>
          <p:nvPr/>
        </p:nvSpPr>
        <p:spPr>
          <a:xfrm>
            <a:off x="256864" y="3654293"/>
            <a:ext cx="35543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СИ для двух тел – упругий удар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BF88008-A796-45AA-9FAF-C55DCBC0DF18}"/>
                  </a:ext>
                </a:extLst>
              </p:cNvPr>
              <p:cNvSpPr txBox="1"/>
              <p:nvPr/>
            </p:nvSpPr>
            <p:spPr>
              <a:xfrm>
                <a:off x="1562642" y="4009482"/>
                <a:ext cx="2309799" cy="37061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ru-RU" sz="20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e>
                      </m:ac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BF88008-A796-45AA-9FAF-C55DCBC0DF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62642" y="4009482"/>
                <a:ext cx="2309799" cy="370614"/>
              </a:xfrm>
              <a:prstGeom prst="rect">
                <a:avLst/>
              </a:prstGeom>
              <a:blipFill>
                <a:blip r:embed="rId9"/>
                <a:stretch>
                  <a:fillRect l="-2375" r="-2902" b="-2131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F958020-A7B5-443E-B904-51575BDDFB88}"/>
                  </a:ext>
                </a:extLst>
              </p:cNvPr>
              <p:cNvSpPr txBox="1"/>
              <p:nvPr/>
            </p:nvSpPr>
            <p:spPr>
              <a:xfrm>
                <a:off x="919067" y="4393707"/>
                <a:ext cx="3596947" cy="37061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ru-RU" sz="20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e>
                      </m:ac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F958020-A7B5-443E-B904-51575BDDFB8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9067" y="4393707"/>
                <a:ext cx="3596947" cy="370614"/>
              </a:xfrm>
              <a:prstGeom prst="rect">
                <a:avLst/>
              </a:prstGeom>
              <a:blipFill>
                <a:blip r:embed="rId10"/>
                <a:stretch>
                  <a:fillRect l="-678" r="-1525" b="-1311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C0CB949-5790-4143-AA95-AE78D2C0A469}"/>
              </a:ext>
            </a:extLst>
          </p:cNvPr>
          <p:cNvSpPr/>
          <p:nvPr/>
        </p:nvSpPr>
        <p:spPr>
          <a:xfrm>
            <a:off x="256863" y="4763039"/>
            <a:ext cx="37746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СИ для двух тел – неупругий удар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F92A5F84-992D-42F3-A727-E064A427CE31}"/>
                  </a:ext>
                </a:extLst>
              </p:cNvPr>
              <p:cNvSpPr txBox="1"/>
              <p:nvPr/>
            </p:nvSpPr>
            <p:spPr>
              <a:xfrm>
                <a:off x="1956594" y="5093313"/>
                <a:ext cx="1521891" cy="37061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ru-RU" sz="20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</a:rPr>
                        <m:t> </m:t>
                      </m:r>
                      <m:acc>
                        <m:accPr>
                          <m:chr m:val="⃗"/>
                          <m:ctrlPr>
                            <a:rPr lang="ru-RU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e>
                      </m:ac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F92A5F84-992D-42F3-A727-E064A427CE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6594" y="5093313"/>
                <a:ext cx="1521891" cy="370614"/>
              </a:xfrm>
              <a:prstGeom prst="rect">
                <a:avLst/>
              </a:prstGeom>
              <a:blipFill>
                <a:blip r:embed="rId11"/>
                <a:stretch>
                  <a:fillRect l="-3600" r="-6000" b="-3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B47D58D-6EE1-4902-B8D6-4D51D14A7A13}"/>
                  </a:ext>
                </a:extLst>
              </p:cNvPr>
              <p:cNvSpPr txBox="1"/>
              <p:nvPr/>
            </p:nvSpPr>
            <p:spPr>
              <a:xfrm>
                <a:off x="976231" y="5448475"/>
                <a:ext cx="3333541" cy="37061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acc>
                        <m:accPr>
                          <m:chr m:val="⃗"/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ru-RU" sz="20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ru-RU" sz="200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e>
                      </m:acc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(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)</m:t>
                      </m:r>
                      <m:acc>
                        <m:accPr>
                          <m:chr m:val="⃗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′</m:t>
                          </m:r>
                        </m:e>
                      </m:ac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B47D58D-6EE1-4902-B8D6-4D51D14A7A1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6231" y="5448475"/>
                <a:ext cx="3333541" cy="370614"/>
              </a:xfrm>
              <a:prstGeom prst="rect">
                <a:avLst/>
              </a:prstGeom>
              <a:blipFill>
                <a:blip r:embed="rId12"/>
                <a:stretch>
                  <a:fillRect l="-548" r="-1828" b="-2950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833BD2D-4C06-4B89-823B-F0EE1716D7FE}"/>
              </a:ext>
            </a:extLst>
          </p:cNvPr>
          <p:cNvSpPr/>
          <p:nvPr/>
        </p:nvSpPr>
        <p:spPr>
          <a:xfrm>
            <a:off x="6466333" y="646331"/>
            <a:ext cx="41480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Формула для вычисления работы силы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17C14C8B-3A55-4E32-8FAA-88A436721933}"/>
                  </a:ext>
                </a:extLst>
              </p:cNvPr>
              <p:cNvSpPr txBox="1"/>
              <p:nvPr/>
            </p:nvSpPr>
            <p:spPr>
              <a:xfrm>
                <a:off x="6579974" y="1040608"/>
                <a:ext cx="1463157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𝐹𝑆</m:t>
                      </m:r>
                      <m:func>
                        <m:func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 panose="02040503050406030204" pitchFamily="18" charset="0"/>
                            </a:rPr>
                            <m:t>cos</m:t>
                          </m:r>
                        </m:fName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</m:fun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17C14C8B-3A55-4E32-8FAA-88A4367219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9974" y="1040608"/>
                <a:ext cx="1463157" cy="307777"/>
              </a:xfrm>
              <a:prstGeom prst="rect">
                <a:avLst/>
              </a:prstGeom>
              <a:blipFill>
                <a:blip r:embed="rId13"/>
                <a:stretch>
                  <a:fillRect l="-3333" r="-1667" b="-6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>
            <a:extLst>
              <a:ext uri="{FF2B5EF4-FFF2-40B4-BE49-F238E27FC236}">
                <a16:creationId xmlns:a16="http://schemas.microsoft.com/office/drawing/2014/main" id="{CF4B0BBD-802B-4A5D-8793-65B5433C3603}"/>
              </a:ext>
            </a:extLst>
          </p:cNvPr>
          <p:cNvSpPr txBox="1"/>
          <p:nvPr/>
        </p:nvSpPr>
        <p:spPr>
          <a:xfrm>
            <a:off x="8189426" y="993276"/>
            <a:ext cx="37601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α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гол между вектором</a:t>
            </a:r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илы и вектором перемещения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CB5B02D0-3E14-471C-9D45-EA48E4E0BDFC}"/>
              </a:ext>
            </a:extLst>
          </p:cNvPr>
          <p:cNvSpPr/>
          <p:nvPr/>
        </p:nvSpPr>
        <p:spPr>
          <a:xfrm>
            <a:off x="6581247" y="1687734"/>
            <a:ext cx="270683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еханическая мощность:</a:t>
            </a:r>
          </a:p>
          <a:p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E909D6A-D60B-40CA-BAF4-EB32C9AAEBD5}"/>
                  </a:ext>
                </a:extLst>
              </p:cNvPr>
              <p:cNvSpPr txBox="1"/>
              <p:nvPr/>
            </p:nvSpPr>
            <p:spPr>
              <a:xfrm>
                <a:off x="7311552" y="2112901"/>
                <a:ext cx="3338030" cy="57817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𝐹𝑆</m:t>
                          </m:r>
                          <m:func>
                            <m:func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en-US" sz="2000" b="0" i="0" smtClean="0">
                                  <a:latin typeface="Cambria Math" panose="02040503050406030204" pitchFamily="18" charset="0"/>
                                </a:rPr>
                                <m:t>cos</m:t>
                              </m:r>
                            </m:fName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func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𝐹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𝜐</m:t>
                      </m:r>
                      <m:func>
                        <m:func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2000" b="0" i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cos</m:t>
                          </m:r>
                        </m:fName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</m:func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E909D6A-D60B-40CA-BAF4-EB32C9AAEB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11552" y="2112901"/>
                <a:ext cx="3338030" cy="578172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48B61061-017C-4319-B8E1-EEB8A944F875}"/>
              </a:ext>
            </a:extLst>
          </p:cNvPr>
          <p:cNvSpPr/>
          <p:nvPr/>
        </p:nvSpPr>
        <p:spPr>
          <a:xfrm>
            <a:off x="6579974" y="2665656"/>
            <a:ext cx="50865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 для вычисления кинетической энергии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6768083-46FD-418B-80DB-DD28ABA3AE08}"/>
                  </a:ext>
                </a:extLst>
              </p:cNvPr>
              <p:cNvSpPr txBox="1"/>
              <p:nvPr/>
            </p:nvSpPr>
            <p:spPr>
              <a:xfrm>
                <a:off x="8189910" y="3043169"/>
                <a:ext cx="1269065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кин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6768083-46FD-418B-80DB-DD28ABA3AE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89910" y="3043169"/>
                <a:ext cx="1269065" cy="553998"/>
              </a:xfrm>
              <a:prstGeom prst="rect">
                <a:avLst/>
              </a:prstGeom>
              <a:blipFill>
                <a:blip r:embed="rId1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5770C9F5-1294-4E41-92C8-069D5E51306D}"/>
              </a:ext>
            </a:extLst>
          </p:cNvPr>
          <p:cNvSpPr/>
          <p:nvPr/>
        </p:nvSpPr>
        <p:spPr>
          <a:xfrm>
            <a:off x="6579973" y="3648484"/>
            <a:ext cx="52115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 для вычисления потенциальной энергии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64AC0C0-9BDB-4957-A549-302764CCB264}"/>
                  </a:ext>
                </a:extLst>
              </p:cNvPr>
              <p:cNvSpPr txBox="1"/>
              <p:nvPr/>
            </p:nvSpPr>
            <p:spPr>
              <a:xfrm>
                <a:off x="7316929" y="4138832"/>
                <a:ext cx="123546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пот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𝑔h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64AC0C0-9BDB-4957-A549-302764CCB2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16929" y="4138832"/>
                <a:ext cx="1235466" cy="276999"/>
              </a:xfrm>
              <a:prstGeom prst="rect">
                <a:avLst/>
              </a:prstGeom>
              <a:blipFill>
                <a:blip r:embed="rId16"/>
                <a:stretch>
                  <a:fillRect l="-3941" t="-2222" r="-5911" b="-3555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667FBF4-3852-4A85-87C7-10D41ADE8DFB}"/>
                  </a:ext>
                </a:extLst>
              </p:cNvPr>
              <p:cNvSpPr txBox="1"/>
              <p:nvPr/>
            </p:nvSpPr>
            <p:spPr>
              <a:xfrm>
                <a:off x="9185750" y="3965356"/>
                <a:ext cx="1327415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пот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m:rPr>
                              <m:sty m:val="p"/>
                            </m:rPr>
                            <a:rPr lang="el-G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Δ</m:t>
                          </m:r>
                          <m:sSup>
                            <m:sSupPr>
                              <m:ctrlPr>
                                <a:rPr lang="el-G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667FBF4-3852-4A85-87C7-10D41ADE8DF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85750" y="3965356"/>
                <a:ext cx="1327415" cy="553998"/>
              </a:xfrm>
              <a:prstGeom prst="rect">
                <a:avLst/>
              </a:prstGeom>
              <a:blipFill>
                <a:blip r:embed="rId1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TextBox 28">
            <a:extLst>
              <a:ext uri="{FF2B5EF4-FFF2-40B4-BE49-F238E27FC236}">
                <a16:creationId xmlns:a16="http://schemas.microsoft.com/office/drawing/2014/main" id="{155A707D-941A-4A65-A401-1DEE4D23D73B}"/>
              </a:ext>
            </a:extLst>
          </p:cNvPr>
          <p:cNvSpPr txBox="1"/>
          <p:nvPr/>
        </p:nvSpPr>
        <p:spPr>
          <a:xfrm>
            <a:off x="9123234" y="4394348"/>
            <a:ext cx="12037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ля пружины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82578488-F143-4696-81B6-3E24ADE3A28D}"/>
              </a:ext>
            </a:extLst>
          </p:cNvPr>
          <p:cNvSpPr/>
          <p:nvPr/>
        </p:nvSpPr>
        <p:spPr>
          <a:xfrm>
            <a:off x="6795343" y="4397223"/>
            <a:ext cx="2278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тело, поднятое над Землёй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6E9A298-D134-44C8-9634-2F7ACE320244}"/>
              </a:ext>
            </a:extLst>
          </p:cNvPr>
          <p:cNvSpPr txBox="1"/>
          <p:nvPr/>
        </p:nvSpPr>
        <p:spPr>
          <a:xfrm>
            <a:off x="6586423" y="4651686"/>
            <a:ext cx="32060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лная механическая энергия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Прямоугольник 32">
                <a:extLst>
                  <a:ext uri="{FF2B5EF4-FFF2-40B4-BE49-F238E27FC236}">
                    <a16:creationId xmlns:a16="http://schemas.microsoft.com/office/drawing/2014/main" id="{BD54D6C6-7893-450A-8394-EEBEE629D32E}"/>
                  </a:ext>
                </a:extLst>
              </p:cNvPr>
              <p:cNvSpPr/>
              <p:nvPr/>
            </p:nvSpPr>
            <p:spPr>
              <a:xfrm>
                <a:off x="6968293" y="4877333"/>
                <a:ext cx="3712298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пол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кин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пот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𝜐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𝑚𝑔h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33" name="Прямоугольник 32">
                <a:extLst>
                  <a:ext uri="{FF2B5EF4-FFF2-40B4-BE49-F238E27FC236}">
                    <a16:creationId xmlns:a16="http://schemas.microsoft.com/office/drawing/2014/main" id="{BD54D6C6-7893-450A-8394-EEBEE629D32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68293" y="4877333"/>
                <a:ext cx="3712298" cy="646331"/>
              </a:xfrm>
              <a:prstGeom prst="rect">
                <a:avLst/>
              </a:prstGeom>
              <a:blipFill>
                <a:blip r:embed="rId1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5A26D6CB-1629-4859-B304-6ABB2962869B}"/>
              </a:ext>
            </a:extLst>
          </p:cNvPr>
          <p:cNvSpPr/>
          <p:nvPr/>
        </p:nvSpPr>
        <p:spPr>
          <a:xfrm>
            <a:off x="6586423" y="5430869"/>
            <a:ext cx="42521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кон сохранения механической энергии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33FBD78-37CD-42A5-B676-93FC073DA37B}"/>
                  </a:ext>
                </a:extLst>
              </p:cNvPr>
              <p:cNvSpPr txBox="1"/>
              <p:nvPr/>
            </p:nvSpPr>
            <p:spPr>
              <a:xfrm>
                <a:off x="6996747" y="5796371"/>
                <a:ext cx="3200556" cy="3018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𝐸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пол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𝑜𝑛𝑠𝑡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,   если </m:t>
                      </m:r>
                      <m:sSub>
                        <m:sSubPr>
                          <m:ctrlPr>
                            <a:rPr lang="ru-RU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ru-RU" b="0" i="1" smtClean="0">
                              <a:latin typeface="Cambria Math" panose="02040503050406030204" pitchFamily="18" charset="0"/>
                            </a:rPr>
                            <m:t>тр</m:t>
                          </m:r>
                        </m:sub>
                      </m:sSub>
                      <m:r>
                        <a:rPr lang="ru-RU" b="0" i="1" smtClean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833FBD78-37CD-42A5-B676-93FC073DA3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96747" y="5796371"/>
                <a:ext cx="3200556" cy="301878"/>
              </a:xfrm>
              <a:prstGeom prst="rect">
                <a:avLst/>
              </a:prstGeom>
              <a:blipFill>
                <a:blip r:embed="rId19"/>
                <a:stretch>
                  <a:fillRect l="-1333" r="-1143" b="-2244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369311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4E02EE-FF8B-4EA3-A3AE-CD2601DC3639}"/>
              </a:ext>
            </a:extLst>
          </p:cNvPr>
          <p:cNvSpPr txBox="1"/>
          <p:nvPr/>
        </p:nvSpPr>
        <p:spPr>
          <a:xfrm>
            <a:off x="2580454" y="0"/>
            <a:ext cx="62231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СТАТИКА. ОСНОВНЫЕ ФОРМУЛ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2DB58D2-32C0-4D38-A95B-F64D9974D8EE}"/>
              </a:ext>
            </a:extLst>
          </p:cNvPr>
          <p:cNvSpPr/>
          <p:nvPr/>
        </p:nvSpPr>
        <p:spPr>
          <a:xfrm>
            <a:off x="261133" y="6150645"/>
            <a:ext cx="108195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</a:t>
            </a:r>
          </a:p>
          <a:p>
            <a:pPr marL="228600" indent="-228600">
              <a:buAutoNum type="arabicPeriod"/>
            </a:pPr>
            <a:r>
              <a:rPr lang="ru-RU" sz="1050" dirty="0"/>
              <a:t>Кодификатор проверяемых требований к результатам освоения основной образовательной программы основного общего образования и элементов содержания  для проведения основного государственного экзамена  по ФИЗИКЕ </a:t>
            </a:r>
          </a:p>
          <a:p>
            <a:pPr marL="228600" indent="-228600">
              <a:buAutoNum type="arabicPeriod"/>
            </a:pPr>
            <a:r>
              <a:rPr lang="ru-RU" sz="1050" dirty="0"/>
              <a:t>ОГЭ. Физика. Справочник с комментариями ведущих экспертов, Автор: Степанова Г. Н., Лебедева И. Ю., Просвещение 2019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C52B3DD-2036-49D2-AB11-58FB4182C05B}"/>
              </a:ext>
            </a:extLst>
          </p:cNvPr>
          <p:cNvSpPr/>
          <p:nvPr/>
        </p:nvSpPr>
        <p:spPr>
          <a:xfrm>
            <a:off x="263025" y="646331"/>
            <a:ext cx="2494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ычаг. Момент силы.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28E15BD-B71C-428E-B195-607EED1410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7171" y="1015664"/>
            <a:ext cx="1589148" cy="115076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DA9A167-204E-49DD-AB64-60B76B1B81DF}"/>
                  </a:ext>
                </a:extLst>
              </p:cNvPr>
              <p:cNvSpPr txBox="1"/>
              <p:nvPr/>
            </p:nvSpPr>
            <p:spPr>
              <a:xfrm>
                <a:off x="2470609" y="1015663"/>
                <a:ext cx="863826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𝐹𝑙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DA9A167-204E-49DD-AB64-60B76B1B81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0609" y="1015663"/>
                <a:ext cx="863826" cy="307777"/>
              </a:xfrm>
              <a:prstGeom prst="rect">
                <a:avLst/>
              </a:prstGeom>
              <a:blipFill>
                <a:blip r:embed="rId5"/>
                <a:stretch>
                  <a:fillRect l="-6338" r="-5634" b="-8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3C541BB1-124B-474C-8438-1BE1EBBBA32B}"/>
              </a:ext>
            </a:extLst>
          </p:cNvPr>
          <p:cNvSpPr txBox="1"/>
          <p:nvPr/>
        </p:nvSpPr>
        <p:spPr>
          <a:xfrm>
            <a:off x="2374128" y="1259440"/>
            <a:ext cx="37218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 –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омент силы</a:t>
            </a:r>
          </a:p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 –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сила</a:t>
            </a:r>
          </a:p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l – 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лечо силы, расстояние от оси до точки приложения силы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8E589C7-623A-4EC3-A697-923A84CEA63A}"/>
              </a:ext>
            </a:extLst>
          </p:cNvPr>
          <p:cNvSpPr/>
          <p:nvPr/>
        </p:nvSpPr>
        <p:spPr>
          <a:xfrm>
            <a:off x="347171" y="2491769"/>
            <a:ext cx="31230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словие равновесия рычаг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701E94A-FCCD-44DE-9F36-8920C29F0CB5}"/>
                  </a:ext>
                </a:extLst>
              </p:cNvPr>
              <p:cNvSpPr txBox="1"/>
              <p:nvPr/>
            </p:nvSpPr>
            <p:spPr>
              <a:xfrm>
                <a:off x="1141745" y="2877593"/>
                <a:ext cx="188628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 …=0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701E94A-FCCD-44DE-9F36-8920C29F0C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41745" y="2877593"/>
                <a:ext cx="1886286" cy="276999"/>
              </a:xfrm>
              <a:prstGeom prst="rect">
                <a:avLst/>
              </a:prstGeom>
              <a:blipFill>
                <a:blip r:embed="rId6"/>
                <a:stretch>
                  <a:fillRect l="-2258" r="-2581" b="-1777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5AC5AE1-BCAB-4CFC-9F98-7DEF34B9C159}"/>
              </a:ext>
            </a:extLst>
          </p:cNvPr>
          <p:cNvSpPr/>
          <p:nvPr/>
        </p:nvSpPr>
        <p:spPr>
          <a:xfrm>
            <a:off x="446146" y="3186444"/>
            <a:ext cx="30005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олотое правило механики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17DB37A-1AFB-4AE0-AF9D-C1B1646D63E8}"/>
                  </a:ext>
                </a:extLst>
              </p:cNvPr>
              <p:cNvSpPr txBox="1"/>
              <p:nvPr/>
            </p:nvSpPr>
            <p:spPr>
              <a:xfrm>
                <a:off x="2308425" y="3539103"/>
                <a:ext cx="898772" cy="6346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ru-RU" sz="20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ru-RU" sz="200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𝐹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den>
                      </m:f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𝑙</m:t>
                              </m:r>
                            </m:e>
                            <m:sub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17DB37A-1AFB-4AE0-AF9D-C1B1646D63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08425" y="3539103"/>
                <a:ext cx="898772" cy="63466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9D0656B-56EB-4A95-AA5B-15F98F209305}"/>
                  </a:ext>
                </a:extLst>
              </p:cNvPr>
              <p:cNvSpPr txBox="1"/>
              <p:nvPr/>
            </p:nvSpPr>
            <p:spPr>
              <a:xfrm>
                <a:off x="571719" y="3702546"/>
                <a:ext cx="1336969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𝑙</m:t>
                          </m:r>
                        </m:e>
                        <m:sub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9D0656B-56EB-4A95-AA5B-15F98F2093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1719" y="3702546"/>
                <a:ext cx="1336969" cy="307777"/>
              </a:xfrm>
              <a:prstGeom prst="rect">
                <a:avLst/>
              </a:prstGeom>
              <a:blipFill>
                <a:blip r:embed="rId8"/>
                <a:stretch>
                  <a:fillRect l="-4110" r="-1370" b="-1568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3D50D65-F969-4394-B8B3-DE7D54DD580E}"/>
              </a:ext>
            </a:extLst>
          </p:cNvPr>
          <p:cNvSpPr/>
          <p:nvPr/>
        </p:nvSpPr>
        <p:spPr>
          <a:xfrm>
            <a:off x="457270" y="4176043"/>
            <a:ext cx="29782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ПД простых механизмов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D1841EC-D8CC-439C-8D15-31ECF9E86AF5}"/>
                  </a:ext>
                </a:extLst>
              </p:cNvPr>
              <p:cNvSpPr txBox="1"/>
              <p:nvPr/>
            </p:nvSpPr>
            <p:spPr>
              <a:xfrm>
                <a:off x="900980" y="4665976"/>
                <a:ext cx="2090829" cy="66781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𝜂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полез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ru-RU" sz="2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затр</m:t>
                              </m:r>
                            </m:sub>
                          </m:sSub>
                        </m:den>
                      </m:f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∙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00%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D1841EC-D8CC-439C-8D15-31ECF9E86A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0980" y="4665976"/>
                <a:ext cx="2090829" cy="66781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14">
            <a:extLst>
              <a:ext uri="{FF2B5EF4-FFF2-40B4-BE49-F238E27FC236}">
                <a16:creationId xmlns:a16="http://schemas.microsoft.com/office/drawing/2014/main" id="{2E422ADD-4816-4DF2-8AF9-3711F7568F8A}"/>
              </a:ext>
            </a:extLst>
          </p:cNvPr>
          <p:cNvSpPr txBox="1"/>
          <p:nvPr/>
        </p:nvSpPr>
        <p:spPr>
          <a:xfrm>
            <a:off x="7317217" y="646331"/>
            <a:ext cx="2241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еподвижный блок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AB61D69D-1496-4205-A806-F632D8B742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33809" y="1100564"/>
            <a:ext cx="1457325" cy="1295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7365692-56C3-420C-B4F4-8E962423CB3D}"/>
              </a:ext>
            </a:extLst>
          </p:cNvPr>
          <p:cNvSpPr txBox="1"/>
          <p:nvPr/>
        </p:nvSpPr>
        <p:spPr>
          <a:xfrm>
            <a:off x="8409934" y="997830"/>
            <a:ext cx="328031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подвижный блок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даёт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игрыша в силе.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подвижный блок позволяет менять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е действия силы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D703254-C827-450D-878D-1419DC2BA285}"/>
              </a:ext>
            </a:extLst>
          </p:cNvPr>
          <p:cNvSpPr txBox="1"/>
          <p:nvPr/>
        </p:nvSpPr>
        <p:spPr>
          <a:xfrm>
            <a:off x="7406903" y="2744725"/>
            <a:ext cx="20060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движный блок</a:t>
            </a:r>
          </a:p>
        </p:txBody>
      </p:sp>
      <p:pic>
        <p:nvPicPr>
          <p:cNvPr id="20" name="Рисунок 19" descr="Изображение выглядит как часы,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D2E62162-1729-4ED9-A15A-20FBFB5ACC9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5496" y="2850197"/>
            <a:ext cx="822370" cy="267857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17A5998-5000-4610-9734-C0F8ECA834C2}"/>
              </a:ext>
            </a:extLst>
          </p:cNvPr>
          <p:cNvSpPr txBox="1"/>
          <p:nvPr/>
        </p:nvSpPr>
        <p:spPr>
          <a:xfrm>
            <a:off x="7427866" y="3112129"/>
            <a:ext cx="32803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вижный блок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аёт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игрыш в силе в два раза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3802C43B-38E7-4530-813D-10F4994F1E49}"/>
                  </a:ext>
                </a:extLst>
              </p:cNvPr>
              <p:cNvSpPr txBox="1"/>
              <p:nvPr/>
            </p:nvSpPr>
            <p:spPr>
              <a:xfrm>
                <a:off x="8632238" y="3788106"/>
                <a:ext cx="780727" cy="57419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𝐹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3802C43B-38E7-4530-813D-10F4994F1E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32238" y="3788106"/>
                <a:ext cx="780727" cy="574196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Box 22">
            <a:extLst>
              <a:ext uri="{FF2B5EF4-FFF2-40B4-BE49-F238E27FC236}">
                <a16:creationId xmlns:a16="http://schemas.microsoft.com/office/drawing/2014/main" id="{CCC44907-B940-4848-BE5B-175F7C5FC154}"/>
              </a:ext>
            </a:extLst>
          </p:cNvPr>
          <p:cNvSpPr txBox="1"/>
          <p:nvPr/>
        </p:nvSpPr>
        <p:spPr>
          <a:xfrm>
            <a:off x="8131127" y="4401012"/>
            <a:ext cx="15665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 – </a:t>
            </a:r>
            <a:r>
              <a:rPr lang="ru-RU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ес груза</a:t>
            </a:r>
          </a:p>
        </p:txBody>
      </p:sp>
    </p:spTree>
    <p:extLst>
      <p:ext uri="{BB962C8B-B14F-4D97-AF65-F5344CB8AC3E}">
        <p14:creationId xmlns:p14="http://schemas.microsoft.com/office/powerpoint/2010/main" val="314439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4E02EE-FF8B-4EA3-A3AE-CD2601DC3639}"/>
              </a:ext>
            </a:extLst>
          </p:cNvPr>
          <p:cNvSpPr txBox="1"/>
          <p:nvPr/>
        </p:nvSpPr>
        <p:spPr>
          <a:xfrm>
            <a:off x="2580454" y="0"/>
            <a:ext cx="74494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ГИДРОСТАТИКА. ОСНОВНЫЕ ФОРМУЛ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FF5C094-EAC5-40D6-9CEE-C5C7A045C8CD}"/>
              </a:ext>
            </a:extLst>
          </p:cNvPr>
          <p:cNvSpPr/>
          <p:nvPr/>
        </p:nvSpPr>
        <p:spPr>
          <a:xfrm>
            <a:off x="261133" y="6150645"/>
            <a:ext cx="108195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</a:t>
            </a:r>
          </a:p>
          <a:p>
            <a:pPr marL="228600" indent="-228600">
              <a:buAutoNum type="arabicPeriod"/>
            </a:pPr>
            <a:r>
              <a:rPr lang="ru-RU" sz="1050" dirty="0"/>
              <a:t>Кодификатор проверяемых требований к результатам освоения основной образовательной программы основного общего образования и элементов содержания  для проведения основного государственного экзамена  по ФИЗИКЕ </a:t>
            </a:r>
          </a:p>
          <a:p>
            <a:pPr marL="228600" indent="-228600">
              <a:buAutoNum type="arabicPeriod"/>
            </a:pPr>
            <a:r>
              <a:rPr lang="ru-RU" sz="1050" dirty="0"/>
              <a:t>ОГЭ. Физика. Справочник с комментариями ведущих экспертов, Автор: Степанова Г. Н., Лебедева И. Ю., Просвещение 2019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F3135DB-83B3-4524-BC37-A70AECB9D2E5}"/>
              </a:ext>
            </a:extLst>
          </p:cNvPr>
          <p:cNvSpPr/>
          <p:nvPr/>
        </p:nvSpPr>
        <p:spPr>
          <a:xfrm>
            <a:off x="261133" y="646331"/>
            <a:ext cx="41382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 для вычисления плотности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6C4EE74-9671-4E0F-B3DE-B8A52F05A838}"/>
                  </a:ext>
                </a:extLst>
              </p:cNvPr>
              <p:cNvSpPr txBox="1"/>
              <p:nvPr/>
            </p:nvSpPr>
            <p:spPr>
              <a:xfrm>
                <a:off x="1955346" y="1056379"/>
                <a:ext cx="815223" cy="52706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𝜌</m:t>
                      </m:r>
                      <m:r>
                        <a:rPr lang="ru-RU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6C4EE74-9671-4E0F-B3DE-B8A52F05A8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55346" y="1056379"/>
                <a:ext cx="815223" cy="527067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E2CBE52-6037-4E22-975E-8C82AB167895}"/>
              </a:ext>
            </a:extLst>
          </p:cNvPr>
          <p:cNvSpPr/>
          <p:nvPr/>
        </p:nvSpPr>
        <p:spPr>
          <a:xfrm>
            <a:off x="261133" y="1624162"/>
            <a:ext cx="55192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 для вычисления давления твёрдого тела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D42789E-7EC9-4C85-B5C6-71B0BEC46F7B}"/>
                  </a:ext>
                </a:extLst>
              </p:cNvPr>
              <p:cNvSpPr txBox="1"/>
              <p:nvPr/>
            </p:nvSpPr>
            <p:spPr>
              <a:xfrm>
                <a:off x="1193791" y="2034210"/>
                <a:ext cx="761555" cy="57631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7D42789E-7EC9-4C85-B5C6-71B0BEC46F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93791" y="2034210"/>
                <a:ext cx="761555" cy="57631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AF7E6604-C77D-4559-A6B4-A5902F11C634}"/>
              </a:ext>
            </a:extLst>
          </p:cNvPr>
          <p:cNvSpPr txBox="1"/>
          <p:nvPr/>
        </p:nvSpPr>
        <p:spPr>
          <a:xfrm>
            <a:off x="2362957" y="1999200"/>
            <a:ext cx="268951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 –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сила давления</a:t>
            </a:r>
          </a:p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 –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площадь поверхност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DBF5303-D96D-4546-AEFF-EB0472025462}"/>
              </a:ext>
            </a:extLst>
          </p:cNvPr>
          <p:cNvSpPr/>
          <p:nvPr/>
        </p:nvSpPr>
        <p:spPr>
          <a:xfrm>
            <a:off x="261133" y="2686247"/>
            <a:ext cx="58428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 для вычисления давления столба жидкости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FA3BB94-8484-4B5B-85BE-1D9A3134A936}"/>
                  </a:ext>
                </a:extLst>
              </p:cNvPr>
              <p:cNvSpPr txBox="1"/>
              <p:nvPr/>
            </p:nvSpPr>
            <p:spPr>
              <a:xfrm>
                <a:off x="1841532" y="3079361"/>
                <a:ext cx="1042850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𝜌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h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FA3BB94-8484-4B5B-85BE-1D9A3134A93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41532" y="3079361"/>
                <a:ext cx="1042850" cy="307777"/>
              </a:xfrm>
              <a:prstGeom prst="rect">
                <a:avLst/>
              </a:prstGeom>
              <a:blipFill>
                <a:blip r:embed="rId6"/>
                <a:stretch>
                  <a:fillRect l="-5848" r="-8772" b="-3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E577397-6509-4D70-A692-C011C0B0F0B8}"/>
              </a:ext>
            </a:extLst>
          </p:cNvPr>
          <p:cNvSpPr/>
          <p:nvPr/>
        </p:nvSpPr>
        <p:spPr>
          <a:xfrm>
            <a:off x="261133" y="3556731"/>
            <a:ext cx="59077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 для вычисления давления внутри жидкости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AA88914-0417-4B18-A103-710E73764196}"/>
                  </a:ext>
                </a:extLst>
              </p:cNvPr>
              <p:cNvSpPr txBox="1"/>
              <p:nvPr/>
            </p:nvSpPr>
            <p:spPr>
              <a:xfrm>
                <a:off x="1649045" y="3952821"/>
                <a:ext cx="1862818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𝑝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𝜌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𝑔h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атм</m:t>
                          </m:r>
                        </m:sub>
                      </m:sSub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AA88914-0417-4B18-A103-710E737641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49045" y="3952821"/>
                <a:ext cx="1862818" cy="307777"/>
              </a:xfrm>
              <a:prstGeom prst="rect">
                <a:avLst/>
              </a:prstGeom>
              <a:blipFill>
                <a:blip r:embed="rId7"/>
                <a:stretch>
                  <a:fillRect l="-2951" r="-328" b="-33333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834EA71E-C77A-4A3A-8320-7CD840C25BF4}"/>
              </a:ext>
            </a:extLst>
          </p:cNvPr>
          <p:cNvSpPr/>
          <p:nvPr/>
        </p:nvSpPr>
        <p:spPr>
          <a:xfrm>
            <a:off x="261132" y="4316115"/>
            <a:ext cx="52940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висимость атмосферного давления от высоты: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1A84662-1067-4FEE-9E62-6042FAA0B179}"/>
              </a:ext>
            </a:extLst>
          </p:cNvPr>
          <p:cNvSpPr/>
          <p:nvPr/>
        </p:nvSpPr>
        <p:spPr>
          <a:xfrm>
            <a:off x="261131" y="4626088"/>
            <a:ext cx="58348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увеличении высоты атмосферное давление понижается, а при уменьшении - повышается.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изменении высоты на 12 метров атмосферное  давление изменяется на 1  мм  рт. ст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B7401D3-4A87-4B62-81B1-15B03BA85493}"/>
              </a:ext>
            </a:extLst>
          </p:cNvPr>
          <p:cNvSpPr/>
          <p:nvPr/>
        </p:nvSpPr>
        <p:spPr>
          <a:xfrm>
            <a:off x="5786338" y="648984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а для определения выталкивающей силы, действующей на тело, погружённое в жидкость или газ: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67D6E356-BF1F-437C-B6FC-3D3BC30070AC}"/>
                  </a:ext>
                </a:extLst>
              </p:cNvPr>
              <p:cNvSpPr txBox="1"/>
              <p:nvPr/>
            </p:nvSpPr>
            <p:spPr>
              <a:xfrm>
                <a:off x="8061434" y="1274111"/>
                <a:ext cx="1545808" cy="33528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ru-RU" sz="20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</a:rPr>
                            <m:t>Арх</m:t>
                          </m:r>
                        </m:sub>
                      </m:sSub>
                      <m:r>
                        <a:rPr lang="ru-RU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sSub>
                        <m:sSubPr>
                          <m:ctrlPr>
                            <a:rPr lang="ru-RU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ru-RU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</a:rPr>
                            <m:t>ж</m:t>
                          </m:r>
                        </m:sub>
                      </m:sSub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𝑔</m:t>
                      </m:r>
                      <m:sSub>
                        <m:sSub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ru-RU" sz="2000" b="0" i="1" smtClean="0">
                              <a:latin typeface="Cambria Math" panose="02040503050406030204" pitchFamily="18" charset="0"/>
                            </a:rPr>
                            <m:t>т</m:t>
                          </m:r>
                        </m:sub>
                      </m:sSub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67D6E356-BF1F-437C-B6FC-3D3BC30070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61434" y="1274111"/>
                <a:ext cx="1545808" cy="335285"/>
              </a:xfrm>
              <a:prstGeom prst="rect">
                <a:avLst/>
              </a:prstGeom>
              <a:blipFill>
                <a:blip r:embed="rId8"/>
                <a:stretch>
                  <a:fillRect l="-3150" r="-394" b="-2909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TextBox 16">
            <a:extLst>
              <a:ext uri="{FF2B5EF4-FFF2-40B4-BE49-F238E27FC236}">
                <a16:creationId xmlns:a16="http://schemas.microsoft.com/office/drawing/2014/main" id="{0A535343-6449-4FCF-878E-5774F317DFCC}"/>
              </a:ext>
            </a:extLst>
          </p:cNvPr>
          <p:cNvSpPr txBox="1"/>
          <p:nvPr/>
        </p:nvSpPr>
        <p:spPr>
          <a:xfrm>
            <a:off x="7543856" y="1623464"/>
            <a:ext cx="25809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словие плавания тел: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58B8D5CC-25CE-4982-BF4A-74D25653631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15161" y="2035516"/>
            <a:ext cx="2309657" cy="1079279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3C02AFA7-1258-4FA7-B8A1-0D5942DB21E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15161" y="3342181"/>
            <a:ext cx="2438577" cy="115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8825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4E02EE-FF8B-4EA3-A3AE-CD2601DC3639}"/>
              </a:ext>
            </a:extLst>
          </p:cNvPr>
          <p:cNvSpPr txBox="1"/>
          <p:nvPr/>
        </p:nvSpPr>
        <p:spPr>
          <a:xfrm>
            <a:off x="174879" y="0"/>
            <a:ext cx="1031885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МЕХАНИЧЕСКИЕ КОЛЕБАНИЯ И ВОЛНЫ. ОСНОВНЫЕ ФОРМУЛ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EB3E91B-984A-4E51-B5FE-4D540455994B}"/>
              </a:ext>
            </a:extLst>
          </p:cNvPr>
          <p:cNvSpPr/>
          <p:nvPr/>
        </p:nvSpPr>
        <p:spPr>
          <a:xfrm>
            <a:off x="261133" y="6150645"/>
            <a:ext cx="108195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</a:t>
            </a:r>
          </a:p>
          <a:p>
            <a:pPr marL="228600" indent="-228600">
              <a:buAutoNum type="arabicPeriod"/>
            </a:pPr>
            <a:r>
              <a:rPr lang="ru-RU" sz="1050" dirty="0"/>
              <a:t>Кодификатор проверяемых требований к результатам освоения основной образовательной программы основного общего образования и элементов содержания  для проведения основного государственного экзамена  по ФИЗИКЕ </a:t>
            </a:r>
          </a:p>
          <a:p>
            <a:pPr marL="228600" indent="-228600">
              <a:buAutoNum type="arabicPeriod"/>
            </a:pPr>
            <a:r>
              <a:rPr lang="ru-RU" sz="1050" dirty="0"/>
              <a:t>ОГЭ. Физика. Справочник с комментариями ведущих экспертов, Автор: Степанова Г. Н., Лебедева И. Ю., Просвещение 2019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DAA3EC-CA52-44D9-9852-A4E7A2441952}"/>
              </a:ext>
            </a:extLst>
          </p:cNvPr>
          <p:cNvSpPr txBox="1"/>
          <p:nvPr/>
        </p:nvSpPr>
        <p:spPr>
          <a:xfrm>
            <a:off x="261133" y="584775"/>
            <a:ext cx="21933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ериод колебаний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2DC009F-5582-4F49-8835-F7A833DE1D38}"/>
                  </a:ext>
                </a:extLst>
              </p:cNvPr>
              <p:cNvSpPr txBox="1"/>
              <p:nvPr/>
            </p:nvSpPr>
            <p:spPr>
              <a:xfrm>
                <a:off x="261133" y="950274"/>
                <a:ext cx="800412" cy="55393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2DC009F-5582-4F49-8835-F7A833DE1D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1133" y="950274"/>
                <a:ext cx="800412" cy="55393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698959B2-9F8B-4B95-A01C-38C8736F91F9}"/>
              </a:ext>
            </a:extLst>
          </p:cNvPr>
          <p:cNvSpPr txBox="1"/>
          <p:nvPr/>
        </p:nvSpPr>
        <p:spPr>
          <a:xfrm>
            <a:off x="1254289" y="920599"/>
            <a:ext cx="21650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t – 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ремя колебаний</a:t>
            </a:r>
          </a:p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 – 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исло колебаний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AF5B615-C52A-4499-8084-336DA343A1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879" y="1533040"/>
            <a:ext cx="1121673" cy="73866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10C38B3-E5BB-4C1E-9378-5B9B63E953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4879" y="2255292"/>
            <a:ext cx="1121672" cy="76216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CDBA09E-2E4C-4C93-A916-0375E68510A5}"/>
              </a:ext>
            </a:extLst>
          </p:cNvPr>
          <p:cNvSpPr txBox="1"/>
          <p:nvPr/>
        </p:nvSpPr>
        <p:spPr>
          <a:xfrm>
            <a:off x="1254289" y="2377811"/>
            <a:ext cx="22112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ужинный маятник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35F05C-0821-4B69-B8DB-6F04B8BAF795}"/>
              </a:ext>
            </a:extLst>
          </p:cNvPr>
          <p:cNvSpPr txBox="1"/>
          <p:nvPr/>
        </p:nvSpPr>
        <p:spPr>
          <a:xfrm>
            <a:off x="1254289" y="1579205"/>
            <a:ext cx="28044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атематический (нитяной)</a:t>
            </a:r>
          </a:p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аятник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46AA0A-AAFC-41AD-8640-D842E11B6E7E}"/>
              </a:ext>
            </a:extLst>
          </p:cNvPr>
          <p:cNvSpPr txBox="1"/>
          <p:nvPr/>
        </p:nvSpPr>
        <p:spPr>
          <a:xfrm>
            <a:off x="5585687" y="584775"/>
            <a:ext cx="2267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астота колебаний: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D2F2A5AE-97F8-40A1-9F0D-125B565A3927}"/>
                  </a:ext>
                </a:extLst>
              </p:cNvPr>
              <p:cNvSpPr txBox="1"/>
              <p:nvPr/>
            </p:nvSpPr>
            <p:spPr>
              <a:xfrm>
                <a:off x="5688308" y="888228"/>
                <a:ext cx="743922" cy="57618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𝜈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𝑇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D2F2A5AE-97F8-40A1-9F0D-125B565A39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88308" y="888228"/>
                <a:ext cx="743922" cy="57618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E2632E1-3CEE-4180-9537-117B7369E97C}"/>
                  </a:ext>
                </a:extLst>
              </p:cNvPr>
              <p:cNvSpPr txBox="1"/>
              <p:nvPr/>
            </p:nvSpPr>
            <p:spPr>
              <a:xfrm>
                <a:off x="6682365" y="888228"/>
                <a:ext cx="779829" cy="57618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𝜈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den>
                      </m:f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E2632E1-3CEE-4180-9537-117B7369E9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82365" y="888228"/>
                <a:ext cx="779829" cy="576183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>
            <a:extLst>
              <a:ext uri="{FF2B5EF4-FFF2-40B4-BE49-F238E27FC236}">
                <a16:creationId xmlns:a16="http://schemas.microsoft.com/office/drawing/2014/main" id="{736E8848-8E77-4A6C-8F01-9CEEFB74D5E0}"/>
              </a:ext>
            </a:extLst>
          </p:cNvPr>
          <p:cNvSpPr txBox="1"/>
          <p:nvPr/>
        </p:nvSpPr>
        <p:spPr>
          <a:xfrm>
            <a:off x="7661351" y="843701"/>
            <a:ext cx="21650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t – 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ремя колебаний</a:t>
            </a:r>
          </a:p>
          <a:p>
            <a:r>
              <a:rPr lang="en-US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N – </a:t>
            </a:r>
            <a:r>
              <a:rPr lang="ru-RU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число колебаний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DFA2233-41D2-4F36-805F-6F1AB552C2C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85687" y="1620262"/>
            <a:ext cx="1201908" cy="85013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B5FA8ED-CCC7-4FDD-BD69-658578914C0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85686" y="2402405"/>
            <a:ext cx="1308301" cy="74988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1C64FE6-6ED4-4680-AFDD-33B54E37BCB4}"/>
              </a:ext>
            </a:extLst>
          </p:cNvPr>
          <p:cNvSpPr txBox="1"/>
          <p:nvPr/>
        </p:nvSpPr>
        <p:spPr>
          <a:xfrm>
            <a:off x="6787595" y="2590548"/>
            <a:ext cx="22112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ужинный маятник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34655E7-323D-46F1-A165-8F76D78C912C}"/>
              </a:ext>
            </a:extLst>
          </p:cNvPr>
          <p:cNvSpPr txBox="1"/>
          <p:nvPr/>
        </p:nvSpPr>
        <p:spPr>
          <a:xfrm>
            <a:off x="6787595" y="1791942"/>
            <a:ext cx="28044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атематический (нитяной)</a:t>
            </a:r>
          </a:p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аятник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A5C7054-192A-4889-BB37-1B18B83D2204}"/>
              </a:ext>
            </a:extLst>
          </p:cNvPr>
          <p:cNvSpPr/>
          <p:nvPr/>
        </p:nvSpPr>
        <p:spPr>
          <a:xfrm>
            <a:off x="2942796" y="3348634"/>
            <a:ext cx="54330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Длина волны и скорость распространения волн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09845B2-8E09-4EEC-A36F-AA82EA7E0619}"/>
                  </a:ext>
                </a:extLst>
              </p:cNvPr>
              <p:cNvSpPr txBox="1"/>
              <p:nvPr/>
            </p:nvSpPr>
            <p:spPr>
              <a:xfrm>
                <a:off x="3756074" y="3850238"/>
                <a:ext cx="873829" cy="3077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𝜆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𝜐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𝑇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09845B2-8E09-4EEC-A36F-AA82EA7E06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56074" y="3850238"/>
                <a:ext cx="873829" cy="307777"/>
              </a:xfrm>
              <a:prstGeom prst="rect">
                <a:avLst/>
              </a:prstGeom>
              <a:blipFill>
                <a:blip r:embed="rId11"/>
                <a:stretch>
                  <a:fillRect l="-6993" r="-6294" b="-80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A138CDF5-AEE5-47FF-AD74-2250173EF600}"/>
                  </a:ext>
                </a:extLst>
              </p:cNvPr>
              <p:cNvSpPr txBox="1"/>
              <p:nvPr/>
            </p:nvSpPr>
            <p:spPr>
              <a:xfrm>
                <a:off x="5508090" y="3749277"/>
                <a:ext cx="723403" cy="52610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2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𝜆</m:t>
                      </m:r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𝜐</m:t>
                          </m:r>
                        </m:num>
                        <m:den>
                          <m:r>
                            <a:rPr lang="en-US" sz="2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𝜈</m:t>
                          </m:r>
                        </m:den>
                      </m:f>
                      <m:r>
                        <a:rPr lang="en-US" sz="2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ru-RU" sz="2000" dirty="0"/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A138CDF5-AEE5-47FF-AD74-2250173EF60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8090" y="3749277"/>
                <a:ext cx="723403" cy="526106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8604576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9418" y="0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140677" y="205887"/>
            <a:ext cx="20906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cs typeface="Times New Roman" panose="02020603050405020304" pitchFamily="18" charset="0"/>
              </a:rPr>
              <a:t>ЗАДАНИЕ № 1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FB622D7-BBC7-4D01-8BBC-D6E0AFB6CD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525" y="729107"/>
            <a:ext cx="7661279" cy="3167644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14A6FF3-C18E-42FA-BF23-A28DBA464113}"/>
              </a:ext>
            </a:extLst>
          </p:cNvPr>
          <p:cNvSpPr/>
          <p:nvPr/>
        </p:nvSpPr>
        <p:spPr>
          <a:xfrm>
            <a:off x="282526" y="6463602"/>
            <a:ext cx="1081955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Материал взят из:  Демонстрационный вариант контрольных измерительных материалов основного государственного экзамена 2020 года  по ФИЗИКЕ </a:t>
            </a:r>
          </a:p>
        </p:txBody>
      </p:sp>
    </p:spTree>
    <p:extLst>
      <p:ext uri="{BB962C8B-B14F-4D97-AF65-F5344CB8AC3E}">
        <p14:creationId xmlns:p14="http://schemas.microsoft.com/office/powerpoint/2010/main" val="27922753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36</TotalTime>
  <Words>3044</Words>
  <Application>Microsoft Office PowerPoint</Application>
  <PresentationFormat>Широкоэкранный</PresentationFormat>
  <Paragraphs>400</Paragraphs>
  <Slides>38</Slides>
  <Notes>3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8</vt:i4>
      </vt:variant>
    </vt:vector>
  </HeadingPairs>
  <TitlesOfParts>
    <vt:vector size="48" baseType="lpstr">
      <vt:lpstr>Arial</vt:lpstr>
      <vt:lpstr>Calibri</vt:lpstr>
      <vt:lpstr>Calibri Light</vt:lpstr>
      <vt:lpstr>Cambria Math</vt:lpstr>
      <vt:lpstr>Impact</vt:lpstr>
      <vt:lpstr>Open Sans</vt:lpstr>
      <vt:lpstr>Open Sans Light</vt:lpstr>
      <vt:lpstr>Times New Roman</vt:lpstr>
      <vt:lpstr>Тема Office</vt:lpstr>
      <vt:lpstr>Слайд think-cell</vt:lpstr>
      <vt:lpstr>«Решаем задания ОГЭ вместе! Задачи по механике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РУППА КОМПАНИЙ ПРОСВЕЩЕНИЕ — СИСТЕМЕ ОБРАЗОВАНИЯ</dc:title>
  <dc:creator>Мегдальский Денис Игоревич</dc:creator>
  <cp:lastModifiedBy>have.no.sugar@gmail.com</cp:lastModifiedBy>
  <cp:revision>303</cp:revision>
  <dcterms:created xsi:type="dcterms:W3CDTF">2019-08-12T18:04:10Z</dcterms:created>
  <dcterms:modified xsi:type="dcterms:W3CDTF">2020-04-08T16:17:51Z</dcterms:modified>
</cp:coreProperties>
</file>